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4" r:id="rId2"/>
    <p:sldMasterId id="2147483821" r:id="rId3"/>
    <p:sldMasterId id="2147483855" r:id="rId4"/>
    <p:sldMasterId id="2147483877" r:id="rId5"/>
    <p:sldMasterId id="2147483890" r:id="rId6"/>
  </p:sldMasterIdLst>
  <p:notesMasterIdLst>
    <p:notesMasterId r:id="rId27"/>
  </p:notesMasterIdLst>
  <p:handoutMasterIdLst>
    <p:handoutMasterId r:id="rId28"/>
  </p:handoutMasterIdLst>
  <p:sldIdLst>
    <p:sldId id="2145707684" r:id="rId7"/>
    <p:sldId id="265" r:id="rId8"/>
    <p:sldId id="2145707686" r:id="rId9"/>
    <p:sldId id="257" r:id="rId10"/>
    <p:sldId id="260" r:id="rId11"/>
    <p:sldId id="2147483646" r:id="rId12"/>
    <p:sldId id="264" r:id="rId13"/>
    <p:sldId id="258" r:id="rId14"/>
    <p:sldId id="266" r:id="rId15"/>
    <p:sldId id="261" r:id="rId16"/>
    <p:sldId id="285" r:id="rId17"/>
    <p:sldId id="270" r:id="rId18"/>
    <p:sldId id="2147472060" r:id="rId19"/>
    <p:sldId id="263" r:id="rId20"/>
    <p:sldId id="2147472062" r:id="rId21"/>
    <p:sldId id="259" r:id="rId22"/>
    <p:sldId id="2147483647" r:id="rId23"/>
    <p:sldId id="272" r:id="rId24"/>
    <p:sldId id="2147483643" r:id="rId25"/>
    <p:sldId id="267" r:id="rId26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8E374D0E-5C10-41CD-AAE4-18ABC6A1EE15}">
          <p14:sldIdLst/>
        </p14:section>
        <p14:section name="Ib giver intro" id="{9792836C-81A7-4316-9CA9-1A319FB65058}">
          <p14:sldIdLst>
            <p14:sldId id="2145707684"/>
            <p14:sldId id="265"/>
            <p14:sldId id="2145707686"/>
            <p14:sldId id="257"/>
          </p14:sldIdLst>
        </p14:section>
        <p14:section name="indsatstyper og støtteordninger" id="{84C4E56D-0F80-4393-B4CF-00CBFE6F881A}">
          <p14:sldIdLst>
            <p14:sldId id="260"/>
            <p14:sldId id="2147483646"/>
            <p14:sldId id="264"/>
            <p14:sldId id="258"/>
          </p14:sldIdLst>
        </p14:section>
        <p14:section name="Omlægningsplan(erne)" id="{B0A59D45-63C0-4BF9-B67F-AB15ED975245}">
          <p14:sldIdLst>
            <p14:sldId id="266"/>
            <p14:sldId id="261"/>
            <p14:sldId id="285"/>
            <p14:sldId id="270"/>
            <p14:sldId id="2147472060"/>
            <p14:sldId id="263"/>
            <p14:sldId id="2147472062"/>
            <p14:sldId id="259"/>
            <p14:sldId id="2147483647"/>
            <p14:sldId id="272"/>
          </p14:sldIdLst>
        </p14:section>
        <p14:section name="Verificering" id="{2DC784B8-9DCF-4F8F-A644-616F0AD0480A}">
          <p14:sldIdLst>
            <p14:sldId id="2147483643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4A0A3E-376D-9B4F-5745-C7467D7F9A07}" name="Nikki Hilliard" initials="NH" userId="S::dcnikhi@assens.dk::1bd05304-705b-48d1-8167-2d42a220b0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EE7E5"/>
    <a:srgbClr val="C1DFC4"/>
    <a:srgbClr val="000000"/>
    <a:srgbClr val="004139"/>
    <a:srgbClr val="996600"/>
    <a:srgbClr val="996633"/>
    <a:srgbClr val="0E2841"/>
    <a:srgbClr val="339966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44" autoAdjust="0"/>
    <p:restoredTop sz="93447" autoAdjust="0"/>
  </p:normalViewPr>
  <p:slideViewPr>
    <p:cSldViewPr snapToGrid="0">
      <p:cViewPr varScale="1">
        <p:scale>
          <a:sx n="103" d="100"/>
          <a:sy n="103" d="100"/>
        </p:scale>
        <p:origin x="360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20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A3941E-8505-4116-ACBD-CED683888F5D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599D0A0F-0CF1-4B55-BE55-BE66D4A2C5B3}">
      <dgm:prSet phldrT="[Tekst]"/>
      <dgm:spPr/>
      <dgm:t>
        <a:bodyPr/>
        <a:lstStyle/>
        <a:p>
          <a:r>
            <a:rPr lang="da-DK" dirty="0"/>
            <a:t>Lavbund</a:t>
          </a:r>
        </a:p>
        <a:p>
          <a:r>
            <a:rPr lang="da-DK" dirty="0"/>
            <a:t>Mål 140.000 ha </a:t>
          </a:r>
        </a:p>
        <a:p>
          <a:r>
            <a:rPr lang="da-DK" dirty="0"/>
            <a:t>2030</a:t>
          </a:r>
        </a:p>
      </dgm:t>
    </dgm:pt>
    <dgm:pt modelId="{9CE1C562-C604-46F7-9D30-0696638D6E95}" type="parTrans" cxnId="{6AF5B8B8-01A7-4EF6-AE7B-1246B445E952}">
      <dgm:prSet/>
      <dgm:spPr/>
      <dgm:t>
        <a:bodyPr/>
        <a:lstStyle/>
        <a:p>
          <a:endParaRPr lang="da-DK"/>
        </a:p>
      </dgm:t>
    </dgm:pt>
    <dgm:pt modelId="{77E80113-18AF-4AD1-82B9-07C912DAF440}" type="sibTrans" cxnId="{6AF5B8B8-01A7-4EF6-AE7B-1246B445E952}">
      <dgm:prSet/>
      <dgm:spPr/>
      <dgm:t>
        <a:bodyPr/>
        <a:lstStyle/>
        <a:p>
          <a:endParaRPr lang="da-DK"/>
        </a:p>
      </dgm:t>
    </dgm:pt>
    <dgm:pt modelId="{41E88B14-58A9-4517-9360-068104F03A11}">
      <dgm:prSet phldrT="[Tekst]"/>
      <dgm:spPr/>
      <dgm:t>
        <a:bodyPr/>
        <a:lstStyle/>
        <a:p>
          <a:r>
            <a:rPr lang="da-DK" dirty="0"/>
            <a:t>Vådområder</a:t>
          </a:r>
        </a:p>
        <a:p>
          <a:r>
            <a:rPr lang="da-DK" dirty="0"/>
            <a:t>Mål 13.780 t kvælstof</a:t>
          </a:r>
        </a:p>
        <a:p>
          <a:r>
            <a:rPr lang="da-DK" dirty="0"/>
            <a:t>2030</a:t>
          </a:r>
        </a:p>
        <a:p>
          <a:r>
            <a:rPr lang="da-DK" dirty="0"/>
            <a:t>	</a:t>
          </a:r>
        </a:p>
      </dgm:t>
    </dgm:pt>
    <dgm:pt modelId="{9549AD07-6A10-4CDE-9E2C-3ABAA42C15DA}" type="parTrans" cxnId="{F1F9986E-A464-400D-9FE2-40CB22CEA8D7}">
      <dgm:prSet/>
      <dgm:spPr/>
      <dgm:t>
        <a:bodyPr/>
        <a:lstStyle/>
        <a:p>
          <a:endParaRPr lang="da-DK"/>
        </a:p>
      </dgm:t>
    </dgm:pt>
    <dgm:pt modelId="{1DC0CFEE-9366-47D6-9D64-7CFA6799DAD0}" type="sibTrans" cxnId="{F1F9986E-A464-400D-9FE2-40CB22CEA8D7}">
      <dgm:prSet/>
      <dgm:spPr/>
      <dgm:t>
        <a:bodyPr/>
        <a:lstStyle/>
        <a:p>
          <a:endParaRPr lang="da-DK"/>
        </a:p>
      </dgm:t>
    </dgm:pt>
    <dgm:pt modelId="{DC0D7E1B-0520-4AA5-AF01-6ABA8FF1B913}">
      <dgm:prSet phldrT="[Tekst]" custT="1"/>
      <dgm:spPr/>
      <dgm:t>
        <a:bodyPr/>
        <a:lstStyle/>
        <a:p>
          <a:r>
            <a:rPr lang="da-DK" sz="2100" dirty="0"/>
            <a:t>Skov </a:t>
          </a:r>
        </a:p>
        <a:p>
          <a:r>
            <a:rPr lang="da-DK" sz="2100" dirty="0"/>
            <a:t>Mål 250.000 ha</a:t>
          </a:r>
        </a:p>
        <a:p>
          <a:r>
            <a:rPr lang="da-DK" sz="1800" dirty="0"/>
            <a:t>Heraf 100.000 urørt og 20.000 statsskov </a:t>
          </a:r>
        </a:p>
        <a:p>
          <a:r>
            <a:rPr lang="da-DK" sz="2100" dirty="0"/>
            <a:t>2045</a:t>
          </a:r>
        </a:p>
      </dgm:t>
    </dgm:pt>
    <dgm:pt modelId="{2039FC80-1770-4574-A330-FABE3018E2D2}" type="parTrans" cxnId="{EAE91042-42D1-414F-9A2D-CDB133D0A931}">
      <dgm:prSet/>
      <dgm:spPr/>
      <dgm:t>
        <a:bodyPr/>
        <a:lstStyle/>
        <a:p>
          <a:endParaRPr lang="da-DK"/>
        </a:p>
      </dgm:t>
    </dgm:pt>
    <dgm:pt modelId="{AF143D1A-C89D-4E00-8545-A9145033D39A}" type="sibTrans" cxnId="{EAE91042-42D1-414F-9A2D-CDB133D0A931}">
      <dgm:prSet/>
      <dgm:spPr/>
      <dgm:t>
        <a:bodyPr/>
        <a:lstStyle/>
        <a:p>
          <a:endParaRPr lang="da-DK"/>
        </a:p>
      </dgm:t>
    </dgm:pt>
    <dgm:pt modelId="{8C3E6715-B257-4251-9B53-1B91AAE1581A}">
      <dgm:prSet phldrT="[Tekst]"/>
      <dgm:spPr/>
      <dgm:t>
        <a:bodyPr/>
        <a:lstStyle/>
        <a:p>
          <a:r>
            <a:rPr lang="da-DK" dirty="0"/>
            <a:t>Ekstensivering	</a:t>
          </a:r>
        </a:p>
      </dgm:t>
    </dgm:pt>
    <dgm:pt modelId="{3752F54D-CCFB-4F7C-BE6D-040D62873479}" type="parTrans" cxnId="{527585F0-0ED8-417E-A6C8-72BBA1ADF7CD}">
      <dgm:prSet/>
      <dgm:spPr/>
      <dgm:t>
        <a:bodyPr/>
        <a:lstStyle/>
        <a:p>
          <a:endParaRPr lang="da-DK"/>
        </a:p>
      </dgm:t>
    </dgm:pt>
    <dgm:pt modelId="{3920E024-B66A-4BCA-B89D-E9EF7BAE513C}" type="sibTrans" cxnId="{527585F0-0ED8-417E-A6C8-72BBA1ADF7CD}">
      <dgm:prSet/>
      <dgm:spPr/>
      <dgm:t>
        <a:bodyPr/>
        <a:lstStyle/>
        <a:p>
          <a:endParaRPr lang="da-DK"/>
        </a:p>
      </dgm:t>
    </dgm:pt>
    <dgm:pt modelId="{9EF8624B-891F-4A74-8B7B-093936D6B1D1}">
      <dgm:prSet phldrT="[Tekst]"/>
      <dgm:spPr/>
      <dgm:t>
        <a:bodyPr/>
        <a:lstStyle/>
        <a:p>
          <a:r>
            <a:rPr lang="da-DK" dirty="0"/>
            <a:t>Natur </a:t>
          </a:r>
        </a:p>
      </dgm:t>
    </dgm:pt>
    <dgm:pt modelId="{0FB23FF8-567C-416D-A4E3-78AD48E151D2}" type="parTrans" cxnId="{6C2B268B-63A4-459B-864A-8D4645980D61}">
      <dgm:prSet/>
      <dgm:spPr/>
      <dgm:t>
        <a:bodyPr/>
        <a:lstStyle/>
        <a:p>
          <a:endParaRPr lang="da-DK"/>
        </a:p>
      </dgm:t>
    </dgm:pt>
    <dgm:pt modelId="{FFF852BD-3D56-4D73-A1DE-02341E4FFD8B}" type="sibTrans" cxnId="{6C2B268B-63A4-459B-864A-8D4645980D61}">
      <dgm:prSet/>
      <dgm:spPr/>
      <dgm:t>
        <a:bodyPr/>
        <a:lstStyle/>
        <a:p>
          <a:endParaRPr lang="da-DK"/>
        </a:p>
      </dgm:t>
    </dgm:pt>
    <dgm:pt modelId="{65D0E68E-EBEF-4335-8249-81CF68DF4EB8}" type="pres">
      <dgm:prSet presAssocID="{75A3941E-8505-4116-ACBD-CED683888F5D}" presName="diagram" presStyleCnt="0">
        <dgm:presLayoutVars>
          <dgm:dir/>
          <dgm:resizeHandles val="exact"/>
        </dgm:presLayoutVars>
      </dgm:prSet>
      <dgm:spPr/>
    </dgm:pt>
    <dgm:pt modelId="{72D90F4C-DB3C-48DE-B526-0C5ED7BFA846}" type="pres">
      <dgm:prSet presAssocID="{599D0A0F-0CF1-4B55-BE55-BE66D4A2C5B3}" presName="node" presStyleLbl="node1" presStyleIdx="0" presStyleCnt="5">
        <dgm:presLayoutVars>
          <dgm:bulletEnabled val="1"/>
        </dgm:presLayoutVars>
      </dgm:prSet>
      <dgm:spPr/>
    </dgm:pt>
    <dgm:pt modelId="{A9AD1869-A62E-4265-9E1D-FB85D97126AD}" type="pres">
      <dgm:prSet presAssocID="{77E80113-18AF-4AD1-82B9-07C912DAF440}" presName="sibTrans" presStyleCnt="0"/>
      <dgm:spPr/>
    </dgm:pt>
    <dgm:pt modelId="{AA16C005-0704-4A14-A402-00E5C5BB2858}" type="pres">
      <dgm:prSet presAssocID="{41E88B14-58A9-4517-9360-068104F03A11}" presName="node" presStyleLbl="node1" presStyleIdx="1" presStyleCnt="5">
        <dgm:presLayoutVars>
          <dgm:bulletEnabled val="1"/>
        </dgm:presLayoutVars>
      </dgm:prSet>
      <dgm:spPr/>
    </dgm:pt>
    <dgm:pt modelId="{987807FD-CE96-4556-93CE-A32FEC99CDD3}" type="pres">
      <dgm:prSet presAssocID="{1DC0CFEE-9366-47D6-9D64-7CFA6799DAD0}" presName="sibTrans" presStyleCnt="0"/>
      <dgm:spPr/>
    </dgm:pt>
    <dgm:pt modelId="{423F6988-3128-42C4-B056-226FBBADA94C}" type="pres">
      <dgm:prSet presAssocID="{DC0D7E1B-0520-4AA5-AF01-6ABA8FF1B913}" presName="node" presStyleLbl="node1" presStyleIdx="2" presStyleCnt="5">
        <dgm:presLayoutVars>
          <dgm:bulletEnabled val="1"/>
        </dgm:presLayoutVars>
      </dgm:prSet>
      <dgm:spPr/>
    </dgm:pt>
    <dgm:pt modelId="{BAC9795F-B10E-467C-BF29-35C44D9C329F}" type="pres">
      <dgm:prSet presAssocID="{AF143D1A-C89D-4E00-8545-A9145033D39A}" presName="sibTrans" presStyleCnt="0"/>
      <dgm:spPr/>
    </dgm:pt>
    <dgm:pt modelId="{2826856B-4DD2-4419-8DB0-D730ADF1C5D2}" type="pres">
      <dgm:prSet presAssocID="{8C3E6715-B257-4251-9B53-1B91AAE1581A}" presName="node" presStyleLbl="node1" presStyleIdx="3" presStyleCnt="5">
        <dgm:presLayoutVars>
          <dgm:bulletEnabled val="1"/>
        </dgm:presLayoutVars>
      </dgm:prSet>
      <dgm:spPr/>
    </dgm:pt>
    <dgm:pt modelId="{F099A3A1-7B13-41A7-B918-06B6868F94C8}" type="pres">
      <dgm:prSet presAssocID="{3920E024-B66A-4BCA-B89D-E9EF7BAE513C}" presName="sibTrans" presStyleCnt="0"/>
      <dgm:spPr/>
    </dgm:pt>
    <dgm:pt modelId="{AC09B1F2-924F-4642-8A3E-C2D8A810A140}" type="pres">
      <dgm:prSet presAssocID="{9EF8624B-891F-4A74-8B7B-093936D6B1D1}" presName="node" presStyleLbl="node1" presStyleIdx="4" presStyleCnt="5">
        <dgm:presLayoutVars>
          <dgm:bulletEnabled val="1"/>
        </dgm:presLayoutVars>
      </dgm:prSet>
      <dgm:spPr/>
    </dgm:pt>
  </dgm:ptLst>
  <dgm:cxnLst>
    <dgm:cxn modelId="{EAE91042-42D1-414F-9A2D-CDB133D0A931}" srcId="{75A3941E-8505-4116-ACBD-CED683888F5D}" destId="{DC0D7E1B-0520-4AA5-AF01-6ABA8FF1B913}" srcOrd="2" destOrd="0" parTransId="{2039FC80-1770-4574-A330-FABE3018E2D2}" sibTransId="{AF143D1A-C89D-4E00-8545-A9145033D39A}"/>
    <dgm:cxn modelId="{F1F9986E-A464-400D-9FE2-40CB22CEA8D7}" srcId="{75A3941E-8505-4116-ACBD-CED683888F5D}" destId="{41E88B14-58A9-4517-9360-068104F03A11}" srcOrd="1" destOrd="0" parTransId="{9549AD07-6A10-4CDE-9E2C-3ABAA42C15DA}" sibTransId="{1DC0CFEE-9366-47D6-9D64-7CFA6799DAD0}"/>
    <dgm:cxn modelId="{37A23459-4CA5-438F-A06C-0720F496C427}" type="presOf" srcId="{599D0A0F-0CF1-4B55-BE55-BE66D4A2C5B3}" destId="{72D90F4C-DB3C-48DE-B526-0C5ED7BFA846}" srcOrd="0" destOrd="0" presId="urn:microsoft.com/office/officeart/2005/8/layout/default"/>
    <dgm:cxn modelId="{7719FA59-8356-427A-B857-F977C0663561}" type="presOf" srcId="{75A3941E-8505-4116-ACBD-CED683888F5D}" destId="{65D0E68E-EBEF-4335-8249-81CF68DF4EB8}" srcOrd="0" destOrd="0" presId="urn:microsoft.com/office/officeart/2005/8/layout/default"/>
    <dgm:cxn modelId="{6C2B268B-63A4-459B-864A-8D4645980D61}" srcId="{75A3941E-8505-4116-ACBD-CED683888F5D}" destId="{9EF8624B-891F-4A74-8B7B-093936D6B1D1}" srcOrd="4" destOrd="0" parTransId="{0FB23FF8-567C-416D-A4E3-78AD48E151D2}" sibTransId="{FFF852BD-3D56-4D73-A1DE-02341E4FFD8B}"/>
    <dgm:cxn modelId="{08104B93-C9A9-4D64-95AE-AFCA3CE7CE47}" type="presOf" srcId="{8C3E6715-B257-4251-9B53-1B91AAE1581A}" destId="{2826856B-4DD2-4419-8DB0-D730ADF1C5D2}" srcOrd="0" destOrd="0" presId="urn:microsoft.com/office/officeart/2005/8/layout/default"/>
    <dgm:cxn modelId="{5A32B0A4-2E1D-4228-B1C0-F548E3251178}" type="presOf" srcId="{41E88B14-58A9-4517-9360-068104F03A11}" destId="{AA16C005-0704-4A14-A402-00E5C5BB2858}" srcOrd="0" destOrd="0" presId="urn:microsoft.com/office/officeart/2005/8/layout/default"/>
    <dgm:cxn modelId="{DE3864B2-58B4-4762-A71E-6CE2DE526E81}" type="presOf" srcId="{DC0D7E1B-0520-4AA5-AF01-6ABA8FF1B913}" destId="{423F6988-3128-42C4-B056-226FBBADA94C}" srcOrd="0" destOrd="0" presId="urn:microsoft.com/office/officeart/2005/8/layout/default"/>
    <dgm:cxn modelId="{6AF5B8B8-01A7-4EF6-AE7B-1246B445E952}" srcId="{75A3941E-8505-4116-ACBD-CED683888F5D}" destId="{599D0A0F-0CF1-4B55-BE55-BE66D4A2C5B3}" srcOrd="0" destOrd="0" parTransId="{9CE1C562-C604-46F7-9D30-0696638D6E95}" sibTransId="{77E80113-18AF-4AD1-82B9-07C912DAF440}"/>
    <dgm:cxn modelId="{3BEE2CCB-F0DA-4FFE-9881-4EAC44353609}" type="presOf" srcId="{9EF8624B-891F-4A74-8B7B-093936D6B1D1}" destId="{AC09B1F2-924F-4642-8A3E-C2D8A810A140}" srcOrd="0" destOrd="0" presId="urn:microsoft.com/office/officeart/2005/8/layout/default"/>
    <dgm:cxn modelId="{527585F0-0ED8-417E-A6C8-72BBA1ADF7CD}" srcId="{75A3941E-8505-4116-ACBD-CED683888F5D}" destId="{8C3E6715-B257-4251-9B53-1B91AAE1581A}" srcOrd="3" destOrd="0" parTransId="{3752F54D-CCFB-4F7C-BE6D-040D62873479}" sibTransId="{3920E024-B66A-4BCA-B89D-E9EF7BAE513C}"/>
    <dgm:cxn modelId="{C183531A-D6D3-49B4-B05C-B8DB1AA6A112}" type="presParOf" srcId="{65D0E68E-EBEF-4335-8249-81CF68DF4EB8}" destId="{72D90F4C-DB3C-48DE-B526-0C5ED7BFA846}" srcOrd="0" destOrd="0" presId="urn:microsoft.com/office/officeart/2005/8/layout/default"/>
    <dgm:cxn modelId="{FD45143D-D916-41EC-B507-67D1FCB29A31}" type="presParOf" srcId="{65D0E68E-EBEF-4335-8249-81CF68DF4EB8}" destId="{A9AD1869-A62E-4265-9E1D-FB85D97126AD}" srcOrd="1" destOrd="0" presId="urn:microsoft.com/office/officeart/2005/8/layout/default"/>
    <dgm:cxn modelId="{6E97F871-03C0-47B2-91B6-076BDC48108D}" type="presParOf" srcId="{65D0E68E-EBEF-4335-8249-81CF68DF4EB8}" destId="{AA16C005-0704-4A14-A402-00E5C5BB2858}" srcOrd="2" destOrd="0" presId="urn:microsoft.com/office/officeart/2005/8/layout/default"/>
    <dgm:cxn modelId="{5F90C83D-FE85-40C5-9096-FA41747F3F55}" type="presParOf" srcId="{65D0E68E-EBEF-4335-8249-81CF68DF4EB8}" destId="{987807FD-CE96-4556-93CE-A32FEC99CDD3}" srcOrd="3" destOrd="0" presId="urn:microsoft.com/office/officeart/2005/8/layout/default"/>
    <dgm:cxn modelId="{3D5FF90D-A577-46B0-88E6-47EF87F72313}" type="presParOf" srcId="{65D0E68E-EBEF-4335-8249-81CF68DF4EB8}" destId="{423F6988-3128-42C4-B056-226FBBADA94C}" srcOrd="4" destOrd="0" presId="urn:microsoft.com/office/officeart/2005/8/layout/default"/>
    <dgm:cxn modelId="{805822F6-B125-4C88-B6CE-4D38AF487BCA}" type="presParOf" srcId="{65D0E68E-EBEF-4335-8249-81CF68DF4EB8}" destId="{BAC9795F-B10E-467C-BF29-35C44D9C329F}" srcOrd="5" destOrd="0" presId="urn:microsoft.com/office/officeart/2005/8/layout/default"/>
    <dgm:cxn modelId="{C252F370-85C4-4883-8197-4B9E81A7DB3E}" type="presParOf" srcId="{65D0E68E-EBEF-4335-8249-81CF68DF4EB8}" destId="{2826856B-4DD2-4419-8DB0-D730ADF1C5D2}" srcOrd="6" destOrd="0" presId="urn:microsoft.com/office/officeart/2005/8/layout/default"/>
    <dgm:cxn modelId="{53C40D1F-F023-4BA8-AC6E-2F8E60B868F7}" type="presParOf" srcId="{65D0E68E-EBEF-4335-8249-81CF68DF4EB8}" destId="{F099A3A1-7B13-41A7-B918-06B6868F94C8}" srcOrd="7" destOrd="0" presId="urn:microsoft.com/office/officeart/2005/8/layout/default"/>
    <dgm:cxn modelId="{593567CD-66EF-4DD2-8475-4DB0130567A8}" type="presParOf" srcId="{65D0E68E-EBEF-4335-8249-81CF68DF4EB8}" destId="{AC09B1F2-924F-4642-8A3E-C2D8A810A140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452910-9693-4816-BE37-C5D68AE139A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1F648501-532A-41E3-BDE6-7201EBDB3C6B}">
      <dgm:prSet phldrT="[Tekst]"/>
      <dgm:spPr/>
      <dgm:t>
        <a:bodyPr/>
        <a:lstStyle/>
        <a:p>
          <a:r>
            <a:rPr lang="da-DK" dirty="0"/>
            <a:t>Feb.-aug.</a:t>
          </a:r>
        </a:p>
      </dgm:t>
    </dgm:pt>
    <dgm:pt modelId="{D60CCFBC-2C5E-4FC0-8801-566F523EA1E7}" type="parTrans" cxnId="{FFBD5D34-ACD0-4495-ADDA-6459379429BF}">
      <dgm:prSet/>
      <dgm:spPr/>
      <dgm:t>
        <a:bodyPr/>
        <a:lstStyle/>
        <a:p>
          <a:endParaRPr lang="da-DK"/>
        </a:p>
      </dgm:t>
    </dgm:pt>
    <dgm:pt modelId="{00E04FF7-AC09-41E0-AD9E-7C24078F7F25}" type="sibTrans" cxnId="{FFBD5D34-ACD0-4495-ADDA-6459379429BF}">
      <dgm:prSet/>
      <dgm:spPr/>
      <dgm:t>
        <a:bodyPr/>
        <a:lstStyle/>
        <a:p>
          <a:endParaRPr lang="da-DK"/>
        </a:p>
      </dgm:t>
    </dgm:pt>
    <dgm:pt modelId="{33F15813-C69B-4C5E-B100-920EE1D0AA3D}">
      <dgm:prSet phldrT="[Tekst]"/>
      <dgm:spPr/>
      <dgm:t>
        <a:bodyPr/>
        <a:lstStyle/>
        <a:p>
          <a:r>
            <a:rPr lang="da-DK" dirty="0"/>
            <a:t>Koordinatorer ansat i treparten</a:t>
          </a:r>
        </a:p>
      </dgm:t>
    </dgm:pt>
    <dgm:pt modelId="{C616585A-47C5-4840-8991-EBCD58FC8670}" type="parTrans" cxnId="{181B26CF-FC35-4E75-BC66-C6660DE72BA3}">
      <dgm:prSet/>
      <dgm:spPr/>
      <dgm:t>
        <a:bodyPr/>
        <a:lstStyle/>
        <a:p>
          <a:endParaRPr lang="da-DK"/>
        </a:p>
      </dgm:t>
    </dgm:pt>
    <dgm:pt modelId="{67CD598F-C56A-4010-9EEB-E98D794CC84F}" type="sibTrans" cxnId="{181B26CF-FC35-4E75-BC66-C6660DE72BA3}">
      <dgm:prSet/>
      <dgm:spPr/>
      <dgm:t>
        <a:bodyPr/>
        <a:lstStyle/>
        <a:p>
          <a:endParaRPr lang="da-DK"/>
        </a:p>
      </dgm:t>
    </dgm:pt>
    <dgm:pt modelId="{584253C8-D6E8-4B54-86E2-AF54032D9429}">
      <dgm:prSet phldrT="[Tekst]"/>
      <dgm:spPr/>
      <dgm:t>
        <a:bodyPr/>
        <a:lstStyle/>
        <a:p>
          <a:r>
            <a:rPr lang="da-DK" dirty="0"/>
            <a:t>Møderække , principper, projekter etc. </a:t>
          </a:r>
        </a:p>
      </dgm:t>
    </dgm:pt>
    <dgm:pt modelId="{7E6DE7F5-81B9-4591-8638-1B9846C9222D}" type="parTrans" cxnId="{9D4FFE3F-74B7-4E86-8081-1DA3A61DB296}">
      <dgm:prSet/>
      <dgm:spPr/>
      <dgm:t>
        <a:bodyPr/>
        <a:lstStyle/>
        <a:p>
          <a:endParaRPr lang="da-DK"/>
        </a:p>
      </dgm:t>
    </dgm:pt>
    <dgm:pt modelId="{8C3988CE-389A-47F1-A321-31D3E40C8655}" type="sibTrans" cxnId="{9D4FFE3F-74B7-4E86-8081-1DA3A61DB296}">
      <dgm:prSet/>
      <dgm:spPr/>
      <dgm:t>
        <a:bodyPr/>
        <a:lstStyle/>
        <a:p>
          <a:endParaRPr lang="da-DK"/>
        </a:p>
      </dgm:t>
    </dgm:pt>
    <dgm:pt modelId="{397D72C3-CEDE-4F5D-8903-BC00DE7186B2}">
      <dgm:prSet phldrT="[Tekst]"/>
      <dgm:spPr/>
      <dgm:t>
        <a:bodyPr/>
        <a:lstStyle/>
        <a:p>
          <a:r>
            <a:rPr lang="da-DK" dirty="0"/>
            <a:t>Odense Fjord Trepart godkender 6. oktober</a:t>
          </a:r>
        </a:p>
      </dgm:t>
    </dgm:pt>
    <dgm:pt modelId="{B7EC1435-9977-4CFC-9BED-4A4AA708D2F9}" type="parTrans" cxnId="{CDCEF2D4-9502-47C9-9EA7-E43E842007FC}">
      <dgm:prSet/>
      <dgm:spPr/>
      <dgm:t>
        <a:bodyPr/>
        <a:lstStyle/>
        <a:p>
          <a:endParaRPr lang="da-DK"/>
        </a:p>
      </dgm:t>
    </dgm:pt>
    <dgm:pt modelId="{C52BAAD4-54DB-404E-96C3-507FE9C4D9B5}" type="sibTrans" cxnId="{CDCEF2D4-9502-47C9-9EA7-E43E842007FC}">
      <dgm:prSet/>
      <dgm:spPr/>
      <dgm:t>
        <a:bodyPr/>
        <a:lstStyle/>
        <a:p>
          <a:endParaRPr lang="da-DK"/>
        </a:p>
      </dgm:t>
    </dgm:pt>
    <dgm:pt modelId="{8D98A3CD-1F81-4A6E-BBB0-99DCCC24BEE6}">
      <dgm:prSet phldrT="[Tekst]"/>
      <dgm:spPr/>
      <dgm:t>
        <a:bodyPr/>
        <a:lstStyle/>
        <a:p>
          <a:r>
            <a:rPr lang="da-DK" dirty="0"/>
            <a:t>Verificering hos SGAV</a:t>
          </a:r>
        </a:p>
      </dgm:t>
    </dgm:pt>
    <dgm:pt modelId="{4062A5F5-7EC6-4359-AFE9-93E6585C9DD8}" type="parTrans" cxnId="{D43C81A0-C360-4D84-8A63-00900BDB9CF5}">
      <dgm:prSet/>
      <dgm:spPr/>
      <dgm:t>
        <a:bodyPr/>
        <a:lstStyle/>
        <a:p>
          <a:endParaRPr lang="da-DK"/>
        </a:p>
      </dgm:t>
    </dgm:pt>
    <dgm:pt modelId="{F20D9B08-F5FD-4570-8239-B158B31F1CC0}" type="sibTrans" cxnId="{D43C81A0-C360-4D84-8A63-00900BDB9CF5}">
      <dgm:prSet/>
      <dgm:spPr/>
      <dgm:t>
        <a:bodyPr/>
        <a:lstStyle/>
        <a:p>
          <a:endParaRPr lang="da-DK"/>
        </a:p>
      </dgm:t>
    </dgm:pt>
    <dgm:pt modelId="{2EDC8C35-6F17-4C54-BB9F-1B332A088346}">
      <dgm:prSet phldrT="[Tekst]"/>
      <dgm:spPr/>
      <dgm:t>
        <a:bodyPr/>
        <a:lstStyle/>
        <a:p>
          <a:r>
            <a:rPr lang="da-DK" dirty="0"/>
            <a:t>Nov. </a:t>
          </a:r>
        </a:p>
      </dgm:t>
    </dgm:pt>
    <dgm:pt modelId="{A1FCF557-7186-415C-B1C9-973FF566E081}" type="parTrans" cxnId="{C3948AD0-5304-4C8C-BD5D-B2D23A54DA06}">
      <dgm:prSet/>
      <dgm:spPr/>
      <dgm:t>
        <a:bodyPr/>
        <a:lstStyle/>
        <a:p>
          <a:endParaRPr lang="da-DK"/>
        </a:p>
      </dgm:t>
    </dgm:pt>
    <dgm:pt modelId="{0B54699E-4767-4995-A210-A814564884BB}" type="sibTrans" cxnId="{C3948AD0-5304-4C8C-BD5D-B2D23A54DA06}">
      <dgm:prSet/>
      <dgm:spPr/>
      <dgm:t>
        <a:bodyPr/>
        <a:lstStyle/>
        <a:p>
          <a:endParaRPr lang="da-DK"/>
        </a:p>
      </dgm:t>
    </dgm:pt>
    <dgm:pt modelId="{E8A2039B-88B0-47C5-80D5-663FEC4C28DB}">
      <dgm:prSet phldrT="[Tekst]"/>
      <dgm:spPr/>
      <dgm:t>
        <a:bodyPr/>
        <a:lstStyle/>
        <a:p>
          <a:r>
            <a:rPr lang="da-DK" dirty="0"/>
            <a:t>Medio nov. planerne sendes til kommunerne </a:t>
          </a:r>
        </a:p>
      </dgm:t>
    </dgm:pt>
    <dgm:pt modelId="{973361C9-C3BA-4C4E-92D7-0664131EE7CF}" type="parTrans" cxnId="{47A005C8-6E61-43B1-BA48-90A8C7761B96}">
      <dgm:prSet/>
      <dgm:spPr/>
      <dgm:t>
        <a:bodyPr/>
        <a:lstStyle/>
        <a:p>
          <a:endParaRPr lang="da-DK"/>
        </a:p>
      </dgm:t>
    </dgm:pt>
    <dgm:pt modelId="{CA4CAFC6-B86D-48D9-9C68-8DA9DB8F5B02}" type="sibTrans" cxnId="{47A005C8-6E61-43B1-BA48-90A8C7761B96}">
      <dgm:prSet/>
      <dgm:spPr/>
      <dgm:t>
        <a:bodyPr/>
        <a:lstStyle/>
        <a:p>
          <a:endParaRPr lang="da-DK"/>
        </a:p>
      </dgm:t>
    </dgm:pt>
    <dgm:pt modelId="{F1DA5B09-7361-4D90-9195-33BEA4BE74BF}">
      <dgm:prSet phldrT="[Tekst]"/>
      <dgm:spPr/>
      <dgm:t>
        <a:bodyPr/>
        <a:lstStyle/>
        <a:p>
          <a:r>
            <a:rPr lang="da-DK" dirty="0"/>
            <a:t>Sikre målopfyldelse</a:t>
          </a:r>
        </a:p>
      </dgm:t>
    </dgm:pt>
    <dgm:pt modelId="{66ABE55B-545F-4FC5-AFF6-CD2B5C4ED116}" type="parTrans" cxnId="{2BE5EA17-7724-44F1-902A-E7C7C5397277}">
      <dgm:prSet/>
      <dgm:spPr/>
      <dgm:t>
        <a:bodyPr/>
        <a:lstStyle/>
        <a:p>
          <a:endParaRPr lang="da-DK"/>
        </a:p>
      </dgm:t>
    </dgm:pt>
    <dgm:pt modelId="{396F00BD-02F9-4B5D-9302-8FCCA8836B51}" type="sibTrans" cxnId="{2BE5EA17-7724-44F1-902A-E7C7C5397277}">
      <dgm:prSet/>
      <dgm:spPr/>
      <dgm:t>
        <a:bodyPr/>
        <a:lstStyle/>
        <a:p>
          <a:endParaRPr lang="da-DK"/>
        </a:p>
      </dgm:t>
    </dgm:pt>
    <dgm:pt modelId="{9F9D306E-4839-4A75-9872-C83FE8EF6F0C}">
      <dgm:prSet phldrT="[Tekst]"/>
      <dgm:spPr/>
      <dgm:t>
        <a:bodyPr/>
        <a:lstStyle/>
        <a:p>
          <a:r>
            <a:rPr lang="da-DK" dirty="0"/>
            <a:t>Okt.</a:t>
          </a:r>
        </a:p>
      </dgm:t>
    </dgm:pt>
    <dgm:pt modelId="{92D36AA0-B729-49EB-A5FB-433DC349C301}" type="sibTrans" cxnId="{32E6001B-84C3-4266-8FBF-1BFFC3FDC305}">
      <dgm:prSet/>
      <dgm:spPr/>
      <dgm:t>
        <a:bodyPr/>
        <a:lstStyle/>
        <a:p>
          <a:endParaRPr lang="da-DK"/>
        </a:p>
      </dgm:t>
    </dgm:pt>
    <dgm:pt modelId="{95FD1BBA-42A8-480A-8F57-00CC0E2969C0}" type="parTrans" cxnId="{32E6001B-84C3-4266-8FBF-1BFFC3FDC305}">
      <dgm:prSet/>
      <dgm:spPr/>
      <dgm:t>
        <a:bodyPr/>
        <a:lstStyle/>
        <a:p>
          <a:endParaRPr lang="da-DK"/>
        </a:p>
      </dgm:t>
    </dgm:pt>
    <dgm:pt modelId="{717EB11D-E31F-4AB5-8D6B-5B8BA4AEDC99}">
      <dgm:prSet phldrT="[Tekst]"/>
      <dgm:spPr/>
      <dgm:t>
        <a:bodyPr/>
        <a:lstStyle/>
        <a:p>
          <a:r>
            <a:rPr lang="da-DK" dirty="0"/>
            <a:t>Treparterne nedsat </a:t>
          </a:r>
        </a:p>
      </dgm:t>
    </dgm:pt>
    <dgm:pt modelId="{3AACD1B0-5631-4107-AC15-01F165F201B0}" type="parTrans" cxnId="{B843205E-007B-45B7-B914-6AF3B9ADF165}">
      <dgm:prSet/>
      <dgm:spPr/>
      <dgm:t>
        <a:bodyPr/>
        <a:lstStyle/>
        <a:p>
          <a:endParaRPr lang="da-DK"/>
        </a:p>
      </dgm:t>
    </dgm:pt>
    <dgm:pt modelId="{97B222DB-2541-4F63-9D9B-DB75E7E0F4CB}" type="sibTrans" cxnId="{B843205E-007B-45B7-B914-6AF3B9ADF165}">
      <dgm:prSet/>
      <dgm:spPr/>
      <dgm:t>
        <a:bodyPr/>
        <a:lstStyle/>
        <a:p>
          <a:endParaRPr lang="da-DK"/>
        </a:p>
      </dgm:t>
    </dgm:pt>
    <dgm:pt modelId="{951C6E97-602C-47A7-A84B-75F93BF4D31C}">
      <dgm:prSet phldrT="[Tekst]"/>
      <dgm:spPr/>
      <dgm:t>
        <a:bodyPr/>
        <a:lstStyle/>
        <a:p>
          <a:r>
            <a:rPr lang="da-DK" dirty="0"/>
            <a:t>Lillebælt treparter godkender 28 oktober </a:t>
          </a:r>
        </a:p>
      </dgm:t>
    </dgm:pt>
    <dgm:pt modelId="{8A3CA335-66D1-4366-9695-CE1EECEE13A9}" type="parTrans" cxnId="{D5847E3A-12BE-4D41-816A-64750CAD5E9A}">
      <dgm:prSet/>
      <dgm:spPr/>
      <dgm:t>
        <a:bodyPr/>
        <a:lstStyle/>
        <a:p>
          <a:endParaRPr lang="da-DK"/>
        </a:p>
      </dgm:t>
    </dgm:pt>
    <dgm:pt modelId="{DF937741-3C31-4C35-9BC0-81E2DA3F2668}" type="sibTrans" cxnId="{D5847E3A-12BE-4D41-816A-64750CAD5E9A}">
      <dgm:prSet/>
      <dgm:spPr/>
      <dgm:t>
        <a:bodyPr/>
        <a:lstStyle/>
        <a:p>
          <a:endParaRPr lang="da-DK"/>
        </a:p>
      </dgm:t>
    </dgm:pt>
    <dgm:pt modelId="{34A5F1C5-A5DC-4AAD-98A0-FBC9768D85F8}" type="pres">
      <dgm:prSet presAssocID="{34452910-9693-4816-BE37-C5D68AE139AB}" presName="linearFlow" presStyleCnt="0">
        <dgm:presLayoutVars>
          <dgm:dir/>
          <dgm:animLvl val="lvl"/>
          <dgm:resizeHandles val="exact"/>
        </dgm:presLayoutVars>
      </dgm:prSet>
      <dgm:spPr/>
    </dgm:pt>
    <dgm:pt modelId="{70B2E4F2-46C3-4756-99E0-3600274FF2BA}" type="pres">
      <dgm:prSet presAssocID="{1F648501-532A-41E3-BDE6-7201EBDB3C6B}" presName="composite" presStyleCnt="0"/>
      <dgm:spPr/>
    </dgm:pt>
    <dgm:pt modelId="{77D4B161-A950-46D2-A52D-AA154D8BD849}" type="pres">
      <dgm:prSet presAssocID="{1F648501-532A-41E3-BDE6-7201EBDB3C6B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333E34C1-CD07-4424-8CCB-3CE15214B1B1}" type="pres">
      <dgm:prSet presAssocID="{1F648501-532A-41E3-BDE6-7201EBDB3C6B}" presName="descendantText" presStyleLbl="alignAcc1" presStyleIdx="0" presStyleCnt="3">
        <dgm:presLayoutVars>
          <dgm:bulletEnabled val="1"/>
        </dgm:presLayoutVars>
      </dgm:prSet>
      <dgm:spPr/>
    </dgm:pt>
    <dgm:pt modelId="{5C1D2BD1-85D2-4ADE-972C-2490AE522C8A}" type="pres">
      <dgm:prSet presAssocID="{00E04FF7-AC09-41E0-AD9E-7C24078F7F25}" presName="sp" presStyleCnt="0"/>
      <dgm:spPr/>
    </dgm:pt>
    <dgm:pt modelId="{31D8C292-DC43-4BB6-B825-E9D50DCF062D}" type="pres">
      <dgm:prSet presAssocID="{9F9D306E-4839-4A75-9872-C83FE8EF6F0C}" presName="composite" presStyleCnt="0"/>
      <dgm:spPr/>
    </dgm:pt>
    <dgm:pt modelId="{0EAA0DEE-BEEB-4DE2-9B69-FC46431A64EE}" type="pres">
      <dgm:prSet presAssocID="{9F9D306E-4839-4A75-9872-C83FE8EF6F0C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474FB287-2521-4BA7-A0A9-3BA615489FF1}" type="pres">
      <dgm:prSet presAssocID="{9F9D306E-4839-4A75-9872-C83FE8EF6F0C}" presName="descendantText" presStyleLbl="alignAcc1" presStyleIdx="1" presStyleCnt="3">
        <dgm:presLayoutVars>
          <dgm:bulletEnabled val="1"/>
        </dgm:presLayoutVars>
      </dgm:prSet>
      <dgm:spPr/>
    </dgm:pt>
    <dgm:pt modelId="{5C146C3A-C730-4ABF-AFF9-CE1E6E610915}" type="pres">
      <dgm:prSet presAssocID="{92D36AA0-B729-49EB-A5FB-433DC349C301}" presName="sp" presStyleCnt="0"/>
      <dgm:spPr/>
    </dgm:pt>
    <dgm:pt modelId="{73A97E1E-C323-4CCE-9106-5E463711777F}" type="pres">
      <dgm:prSet presAssocID="{2EDC8C35-6F17-4C54-BB9F-1B332A088346}" presName="composite" presStyleCnt="0"/>
      <dgm:spPr/>
    </dgm:pt>
    <dgm:pt modelId="{BFA6041B-8DC1-4093-A19D-4EEA78BB6BF5}" type="pres">
      <dgm:prSet presAssocID="{2EDC8C35-6F17-4C54-BB9F-1B332A088346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9A075AE7-B93F-4DC1-A15A-D8E5C130A281}" type="pres">
      <dgm:prSet presAssocID="{2EDC8C35-6F17-4C54-BB9F-1B332A088346}" presName="descendantText" presStyleLbl="alignAcc1" presStyleIdx="2" presStyleCnt="3" custLinFactNeighborY="23250">
        <dgm:presLayoutVars>
          <dgm:bulletEnabled val="1"/>
        </dgm:presLayoutVars>
      </dgm:prSet>
      <dgm:spPr/>
    </dgm:pt>
  </dgm:ptLst>
  <dgm:cxnLst>
    <dgm:cxn modelId="{2BE5EA17-7724-44F1-902A-E7C7C5397277}" srcId="{1F648501-532A-41E3-BDE6-7201EBDB3C6B}" destId="{F1DA5B09-7361-4D90-9195-33BEA4BE74BF}" srcOrd="3" destOrd="0" parTransId="{66ABE55B-545F-4FC5-AFF6-CD2B5C4ED116}" sibTransId="{396F00BD-02F9-4B5D-9302-8FCCA8836B51}"/>
    <dgm:cxn modelId="{32E6001B-84C3-4266-8FBF-1BFFC3FDC305}" srcId="{34452910-9693-4816-BE37-C5D68AE139AB}" destId="{9F9D306E-4839-4A75-9872-C83FE8EF6F0C}" srcOrd="1" destOrd="0" parTransId="{95FD1BBA-42A8-480A-8F57-00CC0E2969C0}" sibTransId="{92D36AA0-B729-49EB-A5FB-433DC349C301}"/>
    <dgm:cxn modelId="{FFBD5D34-ACD0-4495-ADDA-6459379429BF}" srcId="{34452910-9693-4816-BE37-C5D68AE139AB}" destId="{1F648501-532A-41E3-BDE6-7201EBDB3C6B}" srcOrd="0" destOrd="0" parTransId="{D60CCFBC-2C5E-4FC0-8801-566F523EA1E7}" sibTransId="{00E04FF7-AC09-41E0-AD9E-7C24078F7F25}"/>
    <dgm:cxn modelId="{B312BA38-0F6F-4F94-A666-2AE98B73415B}" type="presOf" srcId="{34452910-9693-4816-BE37-C5D68AE139AB}" destId="{34A5F1C5-A5DC-4AAD-98A0-FBC9768D85F8}" srcOrd="0" destOrd="0" presId="urn:microsoft.com/office/officeart/2005/8/layout/chevron2"/>
    <dgm:cxn modelId="{2A1A623A-53E9-406A-81AF-61AD4D8F4E7B}" type="presOf" srcId="{2EDC8C35-6F17-4C54-BB9F-1B332A088346}" destId="{BFA6041B-8DC1-4093-A19D-4EEA78BB6BF5}" srcOrd="0" destOrd="0" presId="urn:microsoft.com/office/officeart/2005/8/layout/chevron2"/>
    <dgm:cxn modelId="{D5847E3A-12BE-4D41-816A-64750CAD5E9A}" srcId="{9F9D306E-4839-4A75-9872-C83FE8EF6F0C}" destId="{951C6E97-602C-47A7-A84B-75F93BF4D31C}" srcOrd="1" destOrd="0" parTransId="{8A3CA335-66D1-4366-9695-CE1EECEE13A9}" sibTransId="{DF937741-3C31-4C35-9BC0-81E2DA3F2668}"/>
    <dgm:cxn modelId="{D31C583B-FC61-4FFC-A2EC-1C5D9C2E01AD}" type="presOf" srcId="{F1DA5B09-7361-4D90-9195-33BEA4BE74BF}" destId="{333E34C1-CD07-4424-8CCB-3CE15214B1B1}" srcOrd="0" destOrd="3" presId="urn:microsoft.com/office/officeart/2005/8/layout/chevron2"/>
    <dgm:cxn modelId="{9D4FFE3F-74B7-4E86-8081-1DA3A61DB296}" srcId="{1F648501-532A-41E3-BDE6-7201EBDB3C6B}" destId="{584253C8-D6E8-4B54-86E2-AF54032D9429}" srcOrd="2" destOrd="0" parTransId="{7E6DE7F5-81B9-4591-8638-1B9846C9222D}" sibTransId="{8C3988CE-389A-47F1-A321-31D3E40C8655}"/>
    <dgm:cxn modelId="{B843205E-007B-45B7-B914-6AF3B9ADF165}" srcId="{1F648501-532A-41E3-BDE6-7201EBDB3C6B}" destId="{717EB11D-E31F-4AB5-8D6B-5B8BA4AEDC99}" srcOrd="1" destOrd="0" parTransId="{3AACD1B0-5631-4107-AC15-01F165F201B0}" sibTransId="{97B222DB-2541-4F63-9D9B-DB75E7E0F4CB}"/>
    <dgm:cxn modelId="{6DBA9C65-C27F-4F83-B7AC-5BD6B8442833}" type="presOf" srcId="{E8A2039B-88B0-47C5-80D5-663FEC4C28DB}" destId="{9A075AE7-B93F-4DC1-A15A-D8E5C130A281}" srcOrd="0" destOrd="0" presId="urn:microsoft.com/office/officeart/2005/8/layout/chevron2"/>
    <dgm:cxn modelId="{64C98C6E-FE2E-4E33-86D0-982F0499F2CE}" type="presOf" srcId="{1F648501-532A-41E3-BDE6-7201EBDB3C6B}" destId="{77D4B161-A950-46D2-A52D-AA154D8BD849}" srcOrd="0" destOrd="0" presId="urn:microsoft.com/office/officeart/2005/8/layout/chevron2"/>
    <dgm:cxn modelId="{BDEDDB51-2346-4DC8-8268-BC8937922862}" type="presOf" srcId="{397D72C3-CEDE-4F5D-8903-BC00DE7186B2}" destId="{474FB287-2521-4BA7-A0A9-3BA615489FF1}" srcOrd="0" destOrd="0" presId="urn:microsoft.com/office/officeart/2005/8/layout/chevron2"/>
    <dgm:cxn modelId="{38CD9F76-B210-4BB0-B9EA-E7206A2E28B9}" type="presOf" srcId="{951C6E97-602C-47A7-A84B-75F93BF4D31C}" destId="{474FB287-2521-4BA7-A0A9-3BA615489FF1}" srcOrd="0" destOrd="1" presId="urn:microsoft.com/office/officeart/2005/8/layout/chevron2"/>
    <dgm:cxn modelId="{D43C81A0-C360-4D84-8A63-00900BDB9CF5}" srcId="{9F9D306E-4839-4A75-9872-C83FE8EF6F0C}" destId="{8D98A3CD-1F81-4A6E-BBB0-99DCCC24BEE6}" srcOrd="2" destOrd="0" parTransId="{4062A5F5-7EC6-4359-AFE9-93E6585C9DD8}" sibTransId="{F20D9B08-F5FD-4570-8239-B158B31F1CC0}"/>
    <dgm:cxn modelId="{32BDC3C4-FAF2-464D-82A4-7A8F469CCBC1}" type="presOf" srcId="{9F9D306E-4839-4A75-9872-C83FE8EF6F0C}" destId="{0EAA0DEE-BEEB-4DE2-9B69-FC46431A64EE}" srcOrd="0" destOrd="0" presId="urn:microsoft.com/office/officeart/2005/8/layout/chevron2"/>
    <dgm:cxn modelId="{47A005C8-6E61-43B1-BA48-90A8C7761B96}" srcId="{2EDC8C35-6F17-4C54-BB9F-1B332A088346}" destId="{E8A2039B-88B0-47C5-80D5-663FEC4C28DB}" srcOrd="0" destOrd="0" parTransId="{973361C9-C3BA-4C4E-92D7-0664131EE7CF}" sibTransId="{CA4CAFC6-B86D-48D9-9C68-8DA9DB8F5B02}"/>
    <dgm:cxn modelId="{181B26CF-FC35-4E75-BC66-C6660DE72BA3}" srcId="{1F648501-532A-41E3-BDE6-7201EBDB3C6B}" destId="{33F15813-C69B-4C5E-B100-920EE1D0AA3D}" srcOrd="0" destOrd="0" parTransId="{C616585A-47C5-4840-8991-EBCD58FC8670}" sibTransId="{67CD598F-C56A-4010-9EEB-E98D794CC84F}"/>
    <dgm:cxn modelId="{C3948AD0-5304-4C8C-BD5D-B2D23A54DA06}" srcId="{34452910-9693-4816-BE37-C5D68AE139AB}" destId="{2EDC8C35-6F17-4C54-BB9F-1B332A088346}" srcOrd="2" destOrd="0" parTransId="{A1FCF557-7186-415C-B1C9-973FF566E081}" sibTransId="{0B54699E-4767-4995-A210-A814564884BB}"/>
    <dgm:cxn modelId="{CDCEF2D4-9502-47C9-9EA7-E43E842007FC}" srcId="{9F9D306E-4839-4A75-9872-C83FE8EF6F0C}" destId="{397D72C3-CEDE-4F5D-8903-BC00DE7186B2}" srcOrd="0" destOrd="0" parTransId="{B7EC1435-9977-4CFC-9BED-4A4AA708D2F9}" sibTransId="{C52BAAD4-54DB-404E-96C3-507FE9C4D9B5}"/>
    <dgm:cxn modelId="{1FAA35D8-9737-4DF2-B144-89A3977F088F}" type="presOf" srcId="{33F15813-C69B-4C5E-B100-920EE1D0AA3D}" destId="{333E34C1-CD07-4424-8CCB-3CE15214B1B1}" srcOrd="0" destOrd="0" presId="urn:microsoft.com/office/officeart/2005/8/layout/chevron2"/>
    <dgm:cxn modelId="{FDF3FADF-9ACB-4607-ACA4-105EE7839154}" type="presOf" srcId="{584253C8-D6E8-4B54-86E2-AF54032D9429}" destId="{333E34C1-CD07-4424-8CCB-3CE15214B1B1}" srcOrd="0" destOrd="2" presId="urn:microsoft.com/office/officeart/2005/8/layout/chevron2"/>
    <dgm:cxn modelId="{C955C3E8-DD02-45DD-8F81-26541D194798}" type="presOf" srcId="{8D98A3CD-1F81-4A6E-BBB0-99DCCC24BEE6}" destId="{474FB287-2521-4BA7-A0A9-3BA615489FF1}" srcOrd="0" destOrd="2" presId="urn:microsoft.com/office/officeart/2005/8/layout/chevron2"/>
    <dgm:cxn modelId="{E743D3F1-943A-4A71-B825-615C1B52E8F9}" type="presOf" srcId="{717EB11D-E31F-4AB5-8D6B-5B8BA4AEDC99}" destId="{333E34C1-CD07-4424-8CCB-3CE15214B1B1}" srcOrd="0" destOrd="1" presId="urn:microsoft.com/office/officeart/2005/8/layout/chevron2"/>
    <dgm:cxn modelId="{81B62A1D-E9D0-4B4A-A866-FDC945D7B9D9}" type="presParOf" srcId="{34A5F1C5-A5DC-4AAD-98A0-FBC9768D85F8}" destId="{70B2E4F2-46C3-4756-99E0-3600274FF2BA}" srcOrd="0" destOrd="0" presId="urn:microsoft.com/office/officeart/2005/8/layout/chevron2"/>
    <dgm:cxn modelId="{0A9FC027-DE5A-4F70-AED8-0B03A2B545B3}" type="presParOf" srcId="{70B2E4F2-46C3-4756-99E0-3600274FF2BA}" destId="{77D4B161-A950-46D2-A52D-AA154D8BD849}" srcOrd="0" destOrd="0" presId="urn:microsoft.com/office/officeart/2005/8/layout/chevron2"/>
    <dgm:cxn modelId="{2243C497-7513-472E-B4DE-1A5C09CBF713}" type="presParOf" srcId="{70B2E4F2-46C3-4756-99E0-3600274FF2BA}" destId="{333E34C1-CD07-4424-8CCB-3CE15214B1B1}" srcOrd="1" destOrd="0" presId="urn:microsoft.com/office/officeart/2005/8/layout/chevron2"/>
    <dgm:cxn modelId="{6362E71B-0832-4BAA-9B81-D6C7B8F25399}" type="presParOf" srcId="{34A5F1C5-A5DC-4AAD-98A0-FBC9768D85F8}" destId="{5C1D2BD1-85D2-4ADE-972C-2490AE522C8A}" srcOrd="1" destOrd="0" presId="urn:microsoft.com/office/officeart/2005/8/layout/chevron2"/>
    <dgm:cxn modelId="{73366C75-DB31-4943-92D6-76B208BF79EC}" type="presParOf" srcId="{34A5F1C5-A5DC-4AAD-98A0-FBC9768D85F8}" destId="{31D8C292-DC43-4BB6-B825-E9D50DCF062D}" srcOrd="2" destOrd="0" presId="urn:microsoft.com/office/officeart/2005/8/layout/chevron2"/>
    <dgm:cxn modelId="{3AA9108E-D53E-4253-BA1F-48B9B58753DD}" type="presParOf" srcId="{31D8C292-DC43-4BB6-B825-E9D50DCF062D}" destId="{0EAA0DEE-BEEB-4DE2-9B69-FC46431A64EE}" srcOrd="0" destOrd="0" presId="urn:microsoft.com/office/officeart/2005/8/layout/chevron2"/>
    <dgm:cxn modelId="{C68F3DA4-B462-47C6-804A-57B06547537F}" type="presParOf" srcId="{31D8C292-DC43-4BB6-B825-E9D50DCF062D}" destId="{474FB287-2521-4BA7-A0A9-3BA615489FF1}" srcOrd="1" destOrd="0" presId="urn:microsoft.com/office/officeart/2005/8/layout/chevron2"/>
    <dgm:cxn modelId="{00183004-4BDE-46F7-A0E4-E6F674F4BFF1}" type="presParOf" srcId="{34A5F1C5-A5DC-4AAD-98A0-FBC9768D85F8}" destId="{5C146C3A-C730-4ABF-AFF9-CE1E6E610915}" srcOrd="3" destOrd="0" presId="urn:microsoft.com/office/officeart/2005/8/layout/chevron2"/>
    <dgm:cxn modelId="{9F39F159-1609-4E1C-B2DA-9BBEA9C8A246}" type="presParOf" srcId="{34A5F1C5-A5DC-4AAD-98A0-FBC9768D85F8}" destId="{73A97E1E-C323-4CCE-9106-5E463711777F}" srcOrd="4" destOrd="0" presId="urn:microsoft.com/office/officeart/2005/8/layout/chevron2"/>
    <dgm:cxn modelId="{0A723789-443C-4558-9F0C-1EBFB374673D}" type="presParOf" srcId="{73A97E1E-C323-4CCE-9106-5E463711777F}" destId="{BFA6041B-8DC1-4093-A19D-4EEA78BB6BF5}" srcOrd="0" destOrd="0" presId="urn:microsoft.com/office/officeart/2005/8/layout/chevron2"/>
    <dgm:cxn modelId="{8FEA5306-CB14-480F-9DD8-8D7E45BC331A}" type="presParOf" srcId="{73A97E1E-C323-4CCE-9106-5E463711777F}" destId="{9A075AE7-B93F-4DC1-A15A-D8E5C130A28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B12CE5-5A0D-4D94-9A93-0CC9741FF83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84178046-1340-46C3-A49D-10A25DD97E23}">
      <dgm:prSet phldrT="[Tekst]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>
        <a:solidFill>
          <a:schemeClr val="tx2">
            <a:lumMod val="25000"/>
            <a:lumOff val="75000"/>
          </a:schemeClr>
        </a:solidFill>
      </dgm:spPr>
      <dgm:t>
        <a:bodyPr/>
        <a:lstStyle/>
        <a:p>
          <a:r>
            <a:rPr lang="da-DK" dirty="0" err="1"/>
            <a:t>Feb-Aug</a:t>
          </a:r>
          <a:r>
            <a:rPr lang="da-DK" dirty="0"/>
            <a:t> </a:t>
          </a:r>
        </a:p>
      </dgm:t>
    </dgm:pt>
    <dgm:pt modelId="{1C7CB245-03A3-4FEE-A202-C9C79D46DBD0}" type="parTrans" cxnId="{436A3743-C6C4-4BBB-90DF-BF28E1F3146C}">
      <dgm:prSet/>
      <dgm:spPr/>
      <dgm:t>
        <a:bodyPr/>
        <a:lstStyle/>
        <a:p>
          <a:endParaRPr lang="da-DK"/>
        </a:p>
      </dgm:t>
    </dgm:pt>
    <dgm:pt modelId="{3E3E97E9-8F4C-4F72-944B-2327241424EE}" type="sibTrans" cxnId="{436A3743-C6C4-4BBB-90DF-BF28E1F3146C}">
      <dgm:prSet/>
      <dgm:spPr/>
      <dgm:t>
        <a:bodyPr/>
        <a:lstStyle/>
        <a:p>
          <a:endParaRPr lang="da-DK"/>
        </a:p>
      </dgm:t>
    </dgm:pt>
    <dgm:pt modelId="{1B7CEE0F-47AC-4660-AEA6-7730973F5806}">
      <dgm:prSet phldrT="[Tekst]"/>
      <dgm:spPr/>
      <dgm:t>
        <a:bodyPr/>
        <a:lstStyle/>
        <a:p>
          <a:r>
            <a:rPr lang="da-DK" dirty="0"/>
            <a:t>Nye medarbejdere</a:t>
          </a:r>
        </a:p>
      </dgm:t>
    </dgm:pt>
    <dgm:pt modelId="{70365632-35A6-4F5B-BA75-502195D409B2}" type="parTrans" cxnId="{6C458757-8663-4F97-B883-9D6CB598E42F}">
      <dgm:prSet/>
      <dgm:spPr/>
      <dgm:t>
        <a:bodyPr/>
        <a:lstStyle/>
        <a:p>
          <a:endParaRPr lang="da-DK"/>
        </a:p>
      </dgm:t>
    </dgm:pt>
    <dgm:pt modelId="{70B66716-8C5E-4A0C-B81F-C0A4D1975D0F}" type="sibTrans" cxnId="{6C458757-8663-4F97-B883-9D6CB598E42F}">
      <dgm:prSet/>
      <dgm:spPr/>
      <dgm:t>
        <a:bodyPr/>
        <a:lstStyle/>
        <a:p>
          <a:endParaRPr lang="da-DK"/>
        </a:p>
      </dgm:t>
    </dgm:pt>
    <dgm:pt modelId="{C85D8BAD-A73E-46FA-B9BA-E7696A72FCCD}">
      <dgm:prSet phldrT="[Tekst]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>
        <a:solidFill>
          <a:schemeClr val="tx2">
            <a:lumMod val="25000"/>
            <a:lumOff val="75000"/>
          </a:schemeClr>
        </a:solidFill>
      </dgm:spPr>
      <dgm:t>
        <a:bodyPr/>
        <a:lstStyle/>
        <a:p>
          <a:r>
            <a:rPr lang="da-DK" dirty="0" err="1"/>
            <a:t>Sept-nov</a:t>
          </a:r>
          <a:r>
            <a:rPr lang="da-DK" dirty="0"/>
            <a:t> </a:t>
          </a:r>
        </a:p>
      </dgm:t>
    </dgm:pt>
    <dgm:pt modelId="{3FC12DE1-D734-4347-81CC-9B3974292E37}" type="parTrans" cxnId="{E305573A-3B3D-481A-8E5A-F9A7CBBD7099}">
      <dgm:prSet/>
      <dgm:spPr/>
      <dgm:t>
        <a:bodyPr/>
        <a:lstStyle/>
        <a:p>
          <a:endParaRPr lang="da-DK"/>
        </a:p>
      </dgm:t>
    </dgm:pt>
    <dgm:pt modelId="{1CF5B273-D6BC-4603-9D9D-2ECE48728570}" type="sibTrans" cxnId="{E305573A-3B3D-481A-8E5A-F9A7CBBD7099}">
      <dgm:prSet/>
      <dgm:spPr/>
      <dgm:t>
        <a:bodyPr/>
        <a:lstStyle/>
        <a:p>
          <a:endParaRPr lang="da-DK"/>
        </a:p>
      </dgm:t>
    </dgm:pt>
    <dgm:pt modelId="{57AC52D5-B219-4397-B342-1322C0A05B5C}">
      <dgm:prSet phldrT="[Tekst]"/>
      <dgm:spPr/>
      <dgm:t>
        <a:bodyPr/>
        <a:lstStyle/>
        <a:p>
          <a:r>
            <a:rPr lang="da-DK" dirty="0"/>
            <a:t>8 Lodsejermøder 650 deltagere skitser drøftet  </a:t>
          </a:r>
        </a:p>
      </dgm:t>
    </dgm:pt>
    <dgm:pt modelId="{33AE8EB1-021D-4161-904A-87E762D7A9D2}" type="parTrans" cxnId="{D5C5E0A0-C370-4F95-AF4B-8897893983E3}">
      <dgm:prSet/>
      <dgm:spPr/>
      <dgm:t>
        <a:bodyPr/>
        <a:lstStyle/>
        <a:p>
          <a:endParaRPr lang="da-DK"/>
        </a:p>
      </dgm:t>
    </dgm:pt>
    <dgm:pt modelId="{CD40E344-AD1A-47DC-9F32-601C2D91B4D0}" type="sibTrans" cxnId="{D5C5E0A0-C370-4F95-AF4B-8897893983E3}">
      <dgm:prSet/>
      <dgm:spPr/>
      <dgm:t>
        <a:bodyPr/>
        <a:lstStyle/>
        <a:p>
          <a:endParaRPr lang="da-DK"/>
        </a:p>
      </dgm:t>
    </dgm:pt>
    <dgm:pt modelId="{88A575FF-1F19-45B0-AF1E-C4549584CBB4}">
      <dgm:prSet phldrT="[Tekst]"/>
      <dgm:spPr/>
      <dgm:t>
        <a:bodyPr/>
        <a:lstStyle/>
        <a:p>
          <a:r>
            <a:rPr lang="da-DK" dirty="0"/>
            <a:t>Omlægningsplan justeres </a:t>
          </a:r>
        </a:p>
      </dgm:t>
    </dgm:pt>
    <dgm:pt modelId="{9ED1B12E-6DFC-45E1-810C-FC255123B24A}" type="parTrans" cxnId="{913B4A68-A47A-4D21-9394-287EBDB8BC86}">
      <dgm:prSet/>
      <dgm:spPr/>
      <dgm:t>
        <a:bodyPr/>
        <a:lstStyle/>
        <a:p>
          <a:endParaRPr lang="da-DK"/>
        </a:p>
      </dgm:t>
    </dgm:pt>
    <dgm:pt modelId="{B0589B43-B6DA-4D37-BB62-5AC70929C455}" type="sibTrans" cxnId="{913B4A68-A47A-4D21-9394-287EBDB8BC86}">
      <dgm:prSet/>
      <dgm:spPr/>
      <dgm:t>
        <a:bodyPr/>
        <a:lstStyle/>
        <a:p>
          <a:endParaRPr lang="da-DK"/>
        </a:p>
      </dgm:t>
    </dgm:pt>
    <dgm:pt modelId="{E0173E17-8B0A-446D-949F-5A2031D6E994}">
      <dgm:prSet phldrT="[Tekst]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>
        <a:solidFill>
          <a:schemeClr val="tx2">
            <a:lumMod val="25000"/>
            <a:lumOff val="75000"/>
          </a:schemeClr>
        </a:solidFill>
      </dgm:spPr>
      <dgm:t>
        <a:bodyPr/>
        <a:lstStyle/>
        <a:p>
          <a:r>
            <a:rPr lang="da-DK" dirty="0" err="1"/>
            <a:t>Dec</a:t>
          </a:r>
          <a:endParaRPr lang="da-DK" dirty="0"/>
        </a:p>
      </dgm:t>
    </dgm:pt>
    <dgm:pt modelId="{8AB2E800-68C9-4049-AF91-F915F0475958}" type="parTrans" cxnId="{2A9D62E5-256E-4310-9E8D-ADAA91297E1E}">
      <dgm:prSet/>
      <dgm:spPr/>
      <dgm:t>
        <a:bodyPr/>
        <a:lstStyle/>
        <a:p>
          <a:endParaRPr lang="da-DK"/>
        </a:p>
      </dgm:t>
    </dgm:pt>
    <dgm:pt modelId="{197A5086-5D84-4A60-947A-301617B5B0D8}" type="sibTrans" cxnId="{2A9D62E5-256E-4310-9E8D-ADAA91297E1E}">
      <dgm:prSet/>
      <dgm:spPr/>
      <dgm:t>
        <a:bodyPr/>
        <a:lstStyle/>
        <a:p>
          <a:endParaRPr lang="da-DK"/>
        </a:p>
      </dgm:t>
    </dgm:pt>
    <dgm:pt modelId="{382CDE20-146D-489A-B893-8850718D70E9}">
      <dgm:prSet phldrT="[Tekst]"/>
      <dgm:spPr/>
      <dgm:t>
        <a:bodyPr/>
        <a:lstStyle/>
        <a:p>
          <a:r>
            <a:rPr lang="da-DK" dirty="0"/>
            <a:t>MTP og Byråd principvedtager planen </a:t>
          </a:r>
        </a:p>
      </dgm:t>
    </dgm:pt>
    <dgm:pt modelId="{F040F98B-04F8-481A-BB10-6B80ED6DE9AB}" type="parTrans" cxnId="{06AF9040-7DBA-4726-9229-367C81861BD0}">
      <dgm:prSet/>
      <dgm:spPr/>
      <dgm:t>
        <a:bodyPr/>
        <a:lstStyle/>
        <a:p>
          <a:endParaRPr lang="da-DK"/>
        </a:p>
      </dgm:t>
    </dgm:pt>
    <dgm:pt modelId="{4ECB5F18-5570-4EA0-9C78-6645C1F62119}" type="sibTrans" cxnId="{06AF9040-7DBA-4726-9229-367C81861BD0}">
      <dgm:prSet/>
      <dgm:spPr/>
      <dgm:t>
        <a:bodyPr/>
        <a:lstStyle/>
        <a:p>
          <a:endParaRPr lang="da-DK"/>
        </a:p>
      </dgm:t>
    </dgm:pt>
    <dgm:pt modelId="{386BA91B-A3E0-45B6-90F2-D62631EBA25F}">
      <dgm:prSet phldrT="[Tekst]"/>
      <dgm:spPr/>
      <dgm:t>
        <a:bodyPr/>
        <a:lstStyle/>
        <a:p>
          <a:r>
            <a:rPr lang="da-DK" dirty="0"/>
            <a:t>Sendes til SGAV </a:t>
          </a:r>
        </a:p>
      </dgm:t>
    </dgm:pt>
    <dgm:pt modelId="{0A607FB0-E58F-4EAB-8968-C316BD984CE2}" type="parTrans" cxnId="{212361FF-2492-4A6A-9CE2-FFDD86D5C1C7}">
      <dgm:prSet/>
      <dgm:spPr/>
      <dgm:t>
        <a:bodyPr/>
        <a:lstStyle/>
        <a:p>
          <a:endParaRPr lang="da-DK"/>
        </a:p>
      </dgm:t>
    </dgm:pt>
    <dgm:pt modelId="{246BC12D-CE22-4B7B-9AC7-FC150FF41E72}" type="sibTrans" cxnId="{212361FF-2492-4A6A-9CE2-FFDD86D5C1C7}">
      <dgm:prSet/>
      <dgm:spPr/>
      <dgm:t>
        <a:bodyPr/>
        <a:lstStyle/>
        <a:p>
          <a:endParaRPr lang="da-DK"/>
        </a:p>
      </dgm:t>
    </dgm:pt>
    <dgm:pt modelId="{36D002E9-47A5-4344-8C94-EC593C6D7F06}">
      <dgm:prSet phldrT="[Tekst]"/>
      <dgm:spPr/>
      <dgm:t>
        <a:bodyPr/>
        <a:lstStyle/>
        <a:p>
          <a:endParaRPr lang="da-DK" dirty="0"/>
        </a:p>
      </dgm:t>
    </dgm:pt>
    <dgm:pt modelId="{24F565F0-656E-4B50-8367-43269248D084}" type="parTrans" cxnId="{62A7CB08-6D57-4715-B8ED-F2484105210E}">
      <dgm:prSet/>
      <dgm:spPr/>
      <dgm:t>
        <a:bodyPr/>
        <a:lstStyle/>
        <a:p>
          <a:endParaRPr lang="da-DK"/>
        </a:p>
      </dgm:t>
    </dgm:pt>
    <dgm:pt modelId="{73356BE1-DBA0-453A-87DA-8A396D3C76C4}" type="sibTrans" cxnId="{62A7CB08-6D57-4715-B8ED-F2484105210E}">
      <dgm:prSet/>
      <dgm:spPr/>
      <dgm:t>
        <a:bodyPr/>
        <a:lstStyle/>
        <a:p>
          <a:endParaRPr lang="da-DK"/>
        </a:p>
      </dgm:t>
    </dgm:pt>
    <dgm:pt modelId="{5F5D90F3-3EAF-4955-A51B-BFE49DEA3D41}">
      <dgm:prSet phldrT="[Tekst]"/>
      <dgm:spPr/>
      <dgm:t>
        <a:bodyPr/>
        <a:lstStyle/>
        <a:p>
          <a:r>
            <a:rPr lang="da-DK" dirty="0"/>
            <a:t>Screeninger af kommunen  for lavbund, vådområder, Projekter lavbund, vådområder, skovrejsning  indtegnes i Mars  (omlægningsplan)</a:t>
          </a:r>
        </a:p>
      </dgm:t>
    </dgm:pt>
    <dgm:pt modelId="{C03599F4-3E97-47FD-A5B5-86A47B1C2123}" type="parTrans" cxnId="{C197D298-580F-48B6-A0F5-DB15F4D105DD}">
      <dgm:prSet/>
      <dgm:spPr/>
      <dgm:t>
        <a:bodyPr/>
        <a:lstStyle/>
        <a:p>
          <a:endParaRPr lang="da-DK"/>
        </a:p>
      </dgm:t>
    </dgm:pt>
    <dgm:pt modelId="{132BA0B8-E47B-4F66-8480-4CA9606346DC}" type="sibTrans" cxnId="{C197D298-580F-48B6-A0F5-DB15F4D105DD}">
      <dgm:prSet/>
      <dgm:spPr/>
      <dgm:t>
        <a:bodyPr/>
        <a:lstStyle/>
        <a:p>
          <a:endParaRPr lang="da-DK"/>
        </a:p>
      </dgm:t>
    </dgm:pt>
    <dgm:pt modelId="{C588ADE6-9AEC-43FB-84EA-CB01F340520A}">
      <dgm:prSet phldrT="[Tekst]"/>
      <dgm:spPr/>
      <dgm:t>
        <a:bodyPr/>
        <a:lstStyle/>
        <a:p>
          <a:r>
            <a:rPr lang="da-DK" b="1" dirty="0">
              <a:solidFill>
                <a:srgbClr val="FF0000"/>
              </a:solidFill>
            </a:rPr>
            <a:t>Grønt Råd Drøfter</a:t>
          </a:r>
        </a:p>
      </dgm:t>
    </dgm:pt>
    <dgm:pt modelId="{AC6D6C66-5E46-4617-9F9D-5B2355057351}" type="parTrans" cxnId="{AB629763-7049-4417-AEFA-3596D5305CB0}">
      <dgm:prSet/>
      <dgm:spPr/>
      <dgm:t>
        <a:bodyPr/>
        <a:lstStyle/>
        <a:p>
          <a:endParaRPr lang="da-DK"/>
        </a:p>
      </dgm:t>
    </dgm:pt>
    <dgm:pt modelId="{C2D86DA8-2F47-424F-803A-ED787C1A63AE}" type="sibTrans" cxnId="{AB629763-7049-4417-AEFA-3596D5305CB0}">
      <dgm:prSet/>
      <dgm:spPr/>
      <dgm:t>
        <a:bodyPr/>
        <a:lstStyle/>
        <a:p>
          <a:endParaRPr lang="da-DK"/>
        </a:p>
      </dgm:t>
    </dgm:pt>
    <dgm:pt modelId="{94E4A696-3310-4B70-B589-602675FD4A5A}" type="pres">
      <dgm:prSet presAssocID="{24B12CE5-5A0D-4D94-9A93-0CC9741FF837}" presName="linearFlow" presStyleCnt="0">
        <dgm:presLayoutVars>
          <dgm:dir/>
          <dgm:animLvl val="lvl"/>
          <dgm:resizeHandles val="exact"/>
        </dgm:presLayoutVars>
      </dgm:prSet>
      <dgm:spPr/>
    </dgm:pt>
    <dgm:pt modelId="{D656EA7F-7EC7-47FB-B802-19E4C76BD5F7}" type="pres">
      <dgm:prSet presAssocID="{84178046-1340-46C3-A49D-10A25DD97E23}" presName="composite" presStyleCnt="0"/>
      <dgm:spPr/>
    </dgm:pt>
    <dgm:pt modelId="{E6F9C49E-678C-4305-AEC0-0D3CB3AE313D}" type="pres">
      <dgm:prSet presAssocID="{84178046-1340-46C3-A49D-10A25DD97E23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EFF05D14-5BE8-41BB-94B4-60906A67E88C}" type="pres">
      <dgm:prSet presAssocID="{84178046-1340-46C3-A49D-10A25DD97E23}" presName="descendantText" presStyleLbl="alignAcc1" presStyleIdx="0" presStyleCnt="3" custLinFactNeighborX="0" custLinFactNeighborY="-4227">
        <dgm:presLayoutVars>
          <dgm:bulletEnabled val="1"/>
        </dgm:presLayoutVars>
      </dgm:prSet>
      <dgm:spPr/>
    </dgm:pt>
    <dgm:pt modelId="{B3E79A8D-8A2B-49D2-80B4-035B6F22C2D5}" type="pres">
      <dgm:prSet presAssocID="{3E3E97E9-8F4C-4F72-944B-2327241424EE}" presName="sp" presStyleCnt="0"/>
      <dgm:spPr/>
    </dgm:pt>
    <dgm:pt modelId="{D894E7F9-9EAB-40E0-960D-8C918E96E518}" type="pres">
      <dgm:prSet presAssocID="{C85D8BAD-A73E-46FA-B9BA-E7696A72FCCD}" presName="composite" presStyleCnt="0"/>
      <dgm:spPr/>
    </dgm:pt>
    <dgm:pt modelId="{19C6CC59-5971-4AFC-9B72-554C3DA77905}" type="pres">
      <dgm:prSet presAssocID="{C85D8BAD-A73E-46FA-B9BA-E7696A72FCCD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B62F429B-B749-4644-9813-A92D6E11BEC6}" type="pres">
      <dgm:prSet presAssocID="{C85D8BAD-A73E-46FA-B9BA-E7696A72FCCD}" presName="descendantText" presStyleLbl="alignAcc1" presStyleIdx="1" presStyleCnt="3">
        <dgm:presLayoutVars>
          <dgm:bulletEnabled val="1"/>
        </dgm:presLayoutVars>
      </dgm:prSet>
      <dgm:spPr/>
    </dgm:pt>
    <dgm:pt modelId="{17FF6662-3506-4B98-B8D6-1314162B3141}" type="pres">
      <dgm:prSet presAssocID="{1CF5B273-D6BC-4603-9D9D-2ECE48728570}" presName="sp" presStyleCnt="0"/>
      <dgm:spPr/>
    </dgm:pt>
    <dgm:pt modelId="{3BE1390E-3ECB-4211-A573-68560B8B1C25}" type="pres">
      <dgm:prSet presAssocID="{E0173E17-8B0A-446D-949F-5A2031D6E994}" presName="composite" presStyleCnt="0"/>
      <dgm:spPr/>
    </dgm:pt>
    <dgm:pt modelId="{29C04DD5-D454-499B-8C02-94FED4BB6786}" type="pres">
      <dgm:prSet presAssocID="{E0173E17-8B0A-446D-949F-5A2031D6E994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F6736493-4342-43DC-BD6F-E36D25EE8F7B}" type="pres">
      <dgm:prSet presAssocID="{E0173E17-8B0A-446D-949F-5A2031D6E994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62A7CB08-6D57-4715-B8ED-F2484105210E}" srcId="{C85D8BAD-A73E-46FA-B9BA-E7696A72FCCD}" destId="{36D002E9-47A5-4344-8C94-EC593C6D7F06}" srcOrd="3" destOrd="0" parTransId="{24F565F0-656E-4B50-8367-43269248D084}" sibTransId="{73356BE1-DBA0-453A-87DA-8A396D3C76C4}"/>
    <dgm:cxn modelId="{F34B8A1B-8582-4B22-97DE-0EEFC14672B4}" type="presOf" srcId="{84178046-1340-46C3-A49D-10A25DD97E23}" destId="{E6F9C49E-678C-4305-AEC0-0D3CB3AE313D}" srcOrd="0" destOrd="0" presId="urn:microsoft.com/office/officeart/2005/8/layout/chevron2"/>
    <dgm:cxn modelId="{F1BEE42B-0FC1-422D-A384-33C70A821FA1}" type="presOf" srcId="{C588ADE6-9AEC-43FB-84EA-CB01F340520A}" destId="{B62F429B-B749-4644-9813-A92D6E11BEC6}" srcOrd="0" destOrd="2" presId="urn:microsoft.com/office/officeart/2005/8/layout/chevron2"/>
    <dgm:cxn modelId="{E305573A-3B3D-481A-8E5A-F9A7CBBD7099}" srcId="{24B12CE5-5A0D-4D94-9A93-0CC9741FF837}" destId="{C85D8BAD-A73E-46FA-B9BA-E7696A72FCCD}" srcOrd="1" destOrd="0" parTransId="{3FC12DE1-D734-4347-81CC-9B3974292E37}" sibTransId="{1CF5B273-D6BC-4603-9D9D-2ECE48728570}"/>
    <dgm:cxn modelId="{D56C3D3E-4D24-412F-BBA6-DE3E30960817}" type="presOf" srcId="{88A575FF-1F19-45B0-AF1E-C4549584CBB4}" destId="{B62F429B-B749-4644-9813-A92D6E11BEC6}" srcOrd="0" destOrd="1" presId="urn:microsoft.com/office/officeart/2005/8/layout/chevron2"/>
    <dgm:cxn modelId="{BD43003F-5E5A-491C-8B3D-253E3C3D60FA}" type="presOf" srcId="{1B7CEE0F-47AC-4660-AEA6-7730973F5806}" destId="{EFF05D14-5BE8-41BB-94B4-60906A67E88C}" srcOrd="0" destOrd="0" presId="urn:microsoft.com/office/officeart/2005/8/layout/chevron2"/>
    <dgm:cxn modelId="{06AF9040-7DBA-4726-9229-367C81861BD0}" srcId="{E0173E17-8B0A-446D-949F-5A2031D6E994}" destId="{382CDE20-146D-489A-B893-8850718D70E9}" srcOrd="0" destOrd="0" parTransId="{F040F98B-04F8-481A-BB10-6B80ED6DE9AB}" sibTransId="{4ECB5F18-5570-4EA0-9C78-6645C1F62119}"/>
    <dgm:cxn modelId="{436A3743-C6C4-4BBB-90DF-BF28E1F3146C}" srcId="{24B12CE5-5A0D-4D94-9A93-0CC9741FF837}" destId="{84178046-1340-46C3-A49D-10A25DD97E23}" srcOrd="0" destOrd="0" parTransId="{1C7CB245-03A3-4FEE-A202-C9C79D46DBD0}" sibTransId="{3E3E97E9-8F4C-4F72-944B-2327241424EE}"/>
    <dgm:cxn modelId="{AB629763-7049-4417-AEFA-3596D5305CB0}" srcId="{C85D8BAD-A73E-46FA-B9BA-E7696A72FCCD}" destId="{C588ADE6-9AEC-43FB-84EA-CB01F340520A}" srcOrd="2" destOrd="0" parTransId="{AC6D6C66-5E46-4617-9F9D-5B2355057351}" sibTransId="{C2D86DA8-2F47-424F-803A-ED787C1A63AE}"/>
    <dgm:cxn modelId="{913B4A68-A47A-4D21-9394-287EBDB8BC86}" srcId="{C85D8BAD-A73E-46FA-B9BA-E7696A72FCCD}" destId="{88A575FF-1F19-45B0-AF1E-C4549584CBB4}" srcOrd="1" destOrd="0" parTransId="{9ED1B12E-6DFC-45E1-810C-FC255123B24A}" sibTransId="{B0589B43-B6DA-4D37-BB62-5AC70929C455}"/>
    <dgm:cxn modelId="{6C458757-8663-4F97-B883-9D6CB598E42F}" srcId="{84178046-1340-46C3-A49D-10A25DD97E23}" destId="{1B7CEE0F-47AC-4660-AEA6-7730973F5806}" srcOrd="0" destOrd="0" parTransId="{70365632-35A6-4F5B-BA75-502195D409B2}" sibTransId="{70B66716-8C5E-4A0C-B81F-C0A4D1975D0F}"/>
    <dgm:cxn modelId="{723C2978-23A2-44C2-8D16-2B1ECDFCADDF}" type="presOf" srcId="{E0173E17-8B0A-446D-949F-5A2031D6E994}" destId="{29C04DD5-D454-499B-8C02-94FED4BB6786}" srcOrd="0" destOrd="0" presId="urn:microsoft.com/office/officeart/2005/8/layout/chevron2"/>
    <dgm:cxn modelId="{98DB2B98-B431-49FB-BF2C-22A4056F6694}" type="presOf" srcId="{5F5D90F3-3EAF-4955-A51B-BFE49DEA3D41}" destId="{EFF05D14-5BE8-41BB-94B4-60906A67E88C}" srcOrd="0" destOrd="1" presId="urn:microsoft.com/office/officeart/2005/8/layout/chevron2"/>
    <dgm:cxn modelId="{C197D298-580F-48B6-A0F5-DB15F4D105DD}" srcId="{84178046-1340-46C3-A49D-10A25DD97E23}" destId="{5F5D90F3-3EAF-4955-A51B-BFE49DEA3D41}" srcOrd="1" destOrd="0" parTransId="{C03599F4-3E97-47FD-A5B5-86A47B1C2123}" sibTransId="{132BA0B8-E47B-4F66-8480-4CA9606346DC}"/>
    <dgm:cxn modelId="{6588E698-B191-4BCE-A11E-14011636D5D3}" type="presOf" srcId="{382CDE20-146D-489A-B893-8850718D70E9}" destId="{F6736493-4342-43DC-BD6F-E36D25EE8F7B}" srcOrd="0" destOrd="0" presId="urn:microsoft.com/office/officeart/2005/8/layout/chevron2"/>
    <dgm:cxn modelId="{D5C5E0A0-C370-4F95-AF4B-8897893983E3}" srcId="{C85D8BAD-A73E-46FA-B9BA-E7696A72FCCD}" destId="{57AC52D5-B219-4397-B342-1322C0A05B5C}" srcOrd="0" destOrd="0" parTransId="{33AE8EB1-021D-4161-904A-87E762D7A9D2}" sibTransId="{CD40E344-AD1A-47DC-9F32-601C2D91B4D0}"/>
    <dgm:cxn modelId="{034262A7-08D3-4C94-9FD2-E57D7C4D1C80}" type="presOf" srcId="{386BA91B-A3E0-45B6-90F2-D62631EBA25F}" destId="{F6736493-4342-43DC-BD6F-E36D25EE8F7B}" srcOrd="0" destOrd="1" presId="urn:microsoft.com/office/officeart/2005/8/layout/chevron2"/>
    <dgm:cxn modelId="{99604CB8-6957-4D46-BBD4-A0C5DE809F24}" type="presOf" srcId="{57AC52D5-B219-4397-B342-1322C0A05B5C}" destId="{B62F429B-B749-4644-9813-A92D6E11BEC6}" srcOrd="0" destOrd="0" presId="urn:microsoft.com/office/officeart/2005/8/layout/chevron2"/>
    <dgm:cxn modelId="{631CCFC7-C6BC-406B-AA14-53831C538584}" type="presOf" srcId="{36D002E9-47A5-4344-8C94-EC593C6D7F06}" destId="{B62F429B-B749-4644-9813-A92D6E11BEC6}" srcOrd="0" destOrd="3" presId="urn:microsoft.com/office/officeart/2005/8/layout/chevron2"/>
    <dgm:cxn modelId="{3A60E7CD-EC49-44D7-B590-C6BBBF67175B}" type="presOf" srcId="{C85D8BAD-A73E-46FA-B9BA-E7696A72FCCD}" destId="{19C6CC59-5971-4AFC-9B72-554C3DA77905}" srcOrd="0" destOrd="0" presId="urn:microsoft.com/office/officeart/2005/8/layout/chevron2"/>
    <dgm:cxn modelId="{944642E5-CEA2-46B4-866D-23D8C357E480}" type="presOf" srcId="{24B12CE5-5A0D-4D94-9A93-0CC9741FF837}" destId="{94E4A696-3310-4B70-B589-602675FD4A5A}" srcOrd="0" destOrd="0" presId="urn:microsoft.com/office/officeart/2005/8/layout/chevron2"/>
    <dgm:cxn modelId="{2A9D62E5-256E-4310-9E8D-ADAA91297E1E}" srcId="{24B12CE5-5A0D-4D94-9A93-0CC9741FF837}" destId="{E0173E17-8B0A-446D-949F-5A2031D6E994}" srcOrd="2" destOrd="0" parTransId="{8AB2E800-68C9-4049-AF91-F915F0475958}" sibTransId="{197A5086-5D84-4A60-947A-301617B5B0D8}"/>
    <dgm:cxn modelId="{212361FF-2492-4A6A-9CE2-FFDD86D5C1C7}" srcId="{E0173E17-8B0A-446D-949F-5A2031D6E994}" destId="{386BA91B-A3E0-45B6-90F2-D62631EBA25F}" srcOrd="1" destOrd="0" parTransId="{0A607FB0-E58F-4EAB-8968-C316BD984CE2}" sibTransId="{246BC12D-CE22-4B7B-9AC7-FC150FF41E72}"/>
    <dgm:cxn modelId="{C96DAA32-5D41-44B6-943B-8B13513FC4C0}" type="presParOf" srcId="{94E4A696-3310-4B70-B589-602675FD4A5A}" destId="{D656EA7F-7EC7-47FB-B802-19E4C76BD5F7}" srcOrd="0" destOrd="0" presId="urn:microsoft.com/office/officeart/2005/8/layout/chevron2"/>
    <dgm:cxn modelId="{FEEC7B05-6053-4524-8032-A85116ACF7B9}" type="presParOf" srcId="{D656EA7F-7EC7-47FB-B802-19E4C76BD5F7}" destId="{E6F9C49E-678C-4305-AEC0-0D3CB3AE313D}" srcOrd="0" destOrd="0" presId="urn:microsoft.com/office/officeart/2005/8/layout/chevron2"/>
    <dgm:cxn modelId="{4008D5C8-F9AC-4E09-B156-3CB762EEBD34}" type="presParOf" srcId="{D656EA7F-7EC7-47FB-B802-19E4C76BD5F7}" destId="{EFF05D14-5BE8-41BB-94B4-60906A67E88C}" srcOrd="1" destOrd="0" presId="urn:microsoft.com/office/officeart/2005/8/layout/chevron2"/>
    <dgm:cxn modelId="{095C7A07-803B-4234-BC4B-FF3C4DFAAE90}" type="presParOf" srcId="{94E4A696-3310-4B70-B589-602675FD4A5A}" destId="{B3E79A8D-8A2B-49D2-80B4-035B6F22C2D5}" srcOrd="1" destOrd="0" presId="urn:microsoft.com/office/officeart/2005/8/layout/chevron2"/>
    <dgm:cxn modelId="{15EA63B6-278A-4369-B34A-2A9CE1CC3CE0}" type="presParOf" srcId="{94E4A696-3310-4B70-B589-602675FD4A5A}" destId="{D894E7F9-9EAB-40E0-960D-8C918E96E518}" srcOrd="2" destOrd="0" presId="urn:microsoft.com/office/officeart/2005/8/layout/chevron2"/>
    <dgm:cxn modelId="{FD2D859F-D5C5-464F-8227-C5BAC1357E6F}" type="presParOf" srcId="{D894E7F9-9EAB-40E0-960D-8C918E96E518}" destId="{19C6CC59-5971-4AFC-9B72-554C3DA77905}" srcOrd="0" destOrd="0" presId="urn:microsoft.com/office/officeart/2005/8/layout/chevron2"/>
    <dgm:cxn modelId="{CA8536BF-085C-4EFF-8DD6-14CA153C6950}" type="presParOf" srcId="{D894E7F9-9EAB-40E0-960D-8C918E96E518}" destId="{B62F429B-B749-4644-9813-A92D6E11BEC6}" srcOrd="1" destOrd="0" presId="urn:microsoft.com/office/officeart/2005/8/layout/chevron2"/>
    <dgm:cxn modelId="{CC1BE10F-7B1A-40EF-9EE9-F03657E5BC82}" type="presParOf" srcId="{94E4A696-3310-4B70-B589-602675FD4A5A}" destId="{17FF6662-3506-4B98-B8D6-1314162B3141}" srcOrd="3" destOrd="0" presId="urn:microsoft.com/office/officeart/2005/8/layout/chevron2"/>
    <dgm:cxn modelId="{775E35D2-68D2-4813-8E9D-173D4FC9671B}" type="presParOf" srcId="{94E4A696-3310-4B70-B589-602675FD4A5A}" destId="{3BE1390E-3ECB-4211-A573-68560B8B1C25}" srcOrd="4" destOrd="0" presId="urn:microsoft.com/office/officeart/2005/8/layout/chevron2"/>
    <dgm:cxn modelId="{150E7365-F072-4ED0-A7F7-7CD99D42F1DC}" type="presParOf" srcId="{3BE1390E-3ECB-4211-A573-68560B8B1C25}" destId="{29C04DD5-D454-499B-8C02-94FED4BB6786}" srcOrd="0" destOrd="0" presId="urn:microsoft.com/office/officeart/2005/8/layout/chevron2"/>
    <dgm:cxn modelId="{3F4697D2-41A2-4046-8F37-70E3FBA8BF20}" type="presParOf" srcId="{3BE1390E-3ECB-4211-A573-68560B8B1C25}" destId="{F6736493-4342-43DC-BD6F-E36D25EE8F7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90F4C-DB3C-48DE-B526-0C5ED7BFA846}">
      <dsp:nvSpPr>
        <dsp:cNvPr id="0" name=""/>
        <dsp:cNvSpPr/>
      </dsp:nvSpPr>
      <dsp:spPr>
        <a:xfrm>
          <a:off x="0" y="39687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Lavbund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Mål 140.000 ha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2030</a:t>
          </a:r>
        </a:p>
      </dsp:txBody>
      <dsp:txXfrm>
        <a:off x="0" y="39687"/>
        <a:ext cx="3286125" cy="1971675"/>
      </dsp:txXfrm>
    </dsp:sp>
    <dsp:sp modelId="{AA16C005-0704-4A14-A402-00E5C5BB2858}">
      <dsp:nvSpPr>
        <dsp:cNvPr id="0" name=""/>
        <dsp:cNvSpPr/>
      </dsp:nvSpPr>
      <dsp:spPr>
        <a:xfrm>
          <a:off x="3614737" y="39687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Vådområder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Mål 13.780 t kvælstof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2030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	</a:t>
          </a:r>
        </a:p>
      </dsp:txBody>
      <dsp:txXfrm>
        <a:off x="3614737" y="39687"/>
        <a:ext cx="3286125" cy="1971675"/>
      </dsp:txXfrm>
    </dsp:sp>
    <dsp:sp modelId="{423F6988-3128-42C4-B056-226FBBADA94C}">
      <dsp:nvSpPr>
        <dsp:cNvPr id="0" name=""/>
        <dsp:cNvSpPr/>
      </dsp:nvSpPr>
      <dsp:spPr>
        <a:xfrm>
          <a:off x="7229475" y="39687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/>
            <a:t>Skov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/>
            <a:t>Mål 250.000 ha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/>
            <a:t>Heraf 100.000 urørt og 20.000 statsskov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100" kern="1200" dirty="0"/>
            <a:t>2045</a:t>
          </a:r>
        </a:p>
      </dsp:txBody>
      <dsp:txXfrm>
        <a:off x="7229475" y="39687"/>
        <a:ext cx="3286125" cy="1971675"/>
      </dsp:txXfrm>
    </dsp:sp>
    <dsp:sp modelId="{2826856B-4DD2-4419-8DB0-D730ADF1C5D2}">
      <dsp:nvSpPr>
        <dsp:cNvPr id="0" name=""/>
        <dsp:cNvSpPr/>
      </dsp:nvSpPr>
      <dsp:spPr>
        <a:xfrm>
          <a:off x="1807368" y="2339975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Ekstensivering	</a:t>
          </a:r>
        </a:p>
      </dsp:txBody>
      <dsp:txXfrm>
        <a:off x="1807368" y="2339975"/>
        <a:ext cx="3286125" cy="1971675"/>
      </dsp:txXfrm>
    </dsp:sp>
    <dsp:sp modelId="{AC09B1F2-924F-4642-8A3E-C2D8A810A140}">
      <dsp:nvSpPr>
        <dsp:cNvPr id="0" name=""/>
        <dsp:cNvSpPr/>
      </dsp:nvSpPr>
      <dsp:spPr>
        <a:xfrm>
          <a:off x="5422106" y="2339975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Natur </a:t>
          </a:r>
        </a:p>
      </dsp:txBody>
      <dsp:txXfrm>
        <a:off x="5422106" y="2339975"/>
        <a:ext cx="3286125" cy="19716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D4B161-A950-46D2-A52D-AA154D8BD849}">
      <dsp:nvSpPr>
        <dsp:cNvPr id="0" name=""/>
        <dsp:cNvSpPr/>
      </dsp:nvSpPr>
      <dsp:spPr>
        <a:xfrm rot="5400000">
          <a:off x="-224807" y="226585"/>
          <a:ext cx="1498718" cy="10491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 dirty="0"/>
            <a:t>Feb.-aug.</a:t>
          </a:r>
        </a:p>
      </dsp:txBody>
      <dsp:txXfrm rot="-5400000">
        <a:off x="1" y="526330"/>
        <a:ext cx="1049103" cy="449615"/>
      </dsp:txXfrm>
    </dsp:sp>
    <dsp:sp modelId="{333E34C1-CD07-4424-8CCB-3CE15214B1B1}">
      <dsp:nvSpPr>
        <dsp:cNvPr id="0" name=""/>
        <dsp:cNvSpPr/>
      </dsp:nvSpPr>
      <dsp:spPr>
        <a:xfrm rot="5400000">
          <a:off x="2736087" y="-1685207"/>
          <a:ext cx="974167" cy="434813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Koordinatorer ansat i treparte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Treparterne nedsat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Møderække , principper, projekter etc.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Sikre målopfyldelse</a:t>
          </a:r>
        </a:p>
      </dsp:txBody>
      <dsp:txXfrm rot="-5400000">
        <a:off x="1049103" y="49332"/>
        <a:ext cx="4300581" cy="879057"/>
      </dsp:txXfrm>
    </dsp:sp>
    <dsp:sp modelId="{0EAA0DEE-BEEB-4DE2-9B69-FC46431A64EE}">
      <dsp:nvSpPr>
        <dsp:cNvPr id="0" name=""/>
        <dsp:cNvSpPr/>
      </dsp:nvSpPr>
      <dsp:spPr>
        <a:xfrm rot="5400000">
          <a:off x="-224807" y="1529916"/>
          <a:ext cx="1498718" cy="10491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 dirty="0"/>
            <a:t>Okt.</a:t>
          </a:r>
        </a:p>
      </dsp:txBody>
      <dsp:txXfrm rot="-5400000">
        <a:off x="1" y="1829661"/>
        <a:ext cx="1049103" cy="449615"/>
      </dsp:txXfrm>
    </dsp:sp>
    <dsp:sp modelId="{474FB287-2521-4BA7-A0A9-3BA615489FF1}">
      <dsp:nvSpPr>
        <dsp:cNvPr id="0" name=""/>
        <dsp:cNvSpPr/>
      </dsp:nvSpPr>
      <dsp:spPr>
        <a:xfrm rot="5400000">
          <a:off x="2736087" y="-381875"/>
          <a:ext cx="974167" cy="434813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Odense Fjord Trepart godkender 6. oktober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Lillebælt treparter godkender 28 oktober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Verificering hos SGAV</a:t>
          </a:r>
        </a:p>
      </dsp:txBody>
      <dsp:txXfrm rot="-5400000">
        <a:off x="1049103" y="1352664"/>
        <a:ext cx="4300581" cy="879057"/>
      </dsp:txXfrm>
    </dsp:sp>
    <dsp:sp modelId="{BFA6041B-8DC1-4093-A19D-4EEA78BB6BF5}">
      <dsp:nvSpPr>
        <dsp:cNvPr id="0" name=""/>
        <dsp:cNvSpPr/>
      </dsp:nvSpPr>
      <dsp:spPr>
        <a:xfrm rot="5400000">
          <a:off x="-224807" y="2833248"/>
          <a:ext cx="1498718" cy="10491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900" kern="1200" dirty="0"/>
            <a:t>Nov. </a:t>
          </a:r>
        </a:p>
      </dsp:txBody>
      <dsp:txXfrm rot="-5400000">
        <a:off x="1" y="3132993"/>
        <a:ext cx="1049103" cy="449615"/>
      </dsp:txXfrm>
    </dsp:sp>
    <dsp:sp modelId="{9A075AE7-B93F-4DC1-A15A-D8E5C130A281}">
      <dsp:nvSpPr>
        <dsp:cNvPr id="0" name=""/>
        <dsp:cNvSpPr/>
      </dsp:nvSpPr>
      <dsp:spPr>
        <a:xfrm rot="5400000">
          <a:off x="2736087" y="1147949"/>
          <a:ext cx="974167" cy="434813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Medio nov. planerne sendes til kommunerne </a:t>
          </a:r>
        </a:p>
      </dsp:txBody>
      <dsp:txXfrm rot="-5400000">
        <a:off x="1049103" y="2882489"/>
        <a:ext cx="4300581" cy="87905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F9C49E-678C-4305-AEC0-0D3CB3AE313D}">
      <dsp:nvSpPr>
        <dsp:cNvPr id="0" name=""/>
        <dsp:cNvSpPr/>
      </dsp:nvSpPr>
      <dsp:spPr>
        <a:xfrm rot="5400000">
          <a:off x="-224807" y="226585"/>
          <a:ext cx="1498718" cy="1049103"/>
        </a:xfrm>
        <a:prstGeom prst="chevron">
          <a:avLst/>
        </a:prstGeom>
        <a:solidFill>
          <a:schemeClr val="tx2">
            <a:lumMod val="25000"/>
            <a:lumOff val="75000"/>
          </a:schemeClr>
        </a:solidFill>
        <a:ln w="2540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000" kern="1200" dirty="0" err="1"/>
            <a:t>Feb-Aug</a:t>
          </a:r>
          <a:r>
            <a:rPr lang="da-DK" sz="2000" kern="1200" dirty="0"/>
            <a:t> </a:t>
          </a:r>
        </a:p>
      </dsp:txBody>
      <dsp:txXfrm rot="-5400000">
        <a:off x="1" y="526330"/>
        <a:ext cx="1049103" cy="449615"/>
      </dsp:txXfrm>
    </dsp:sp>
    <dsp:sp modelId="{EFF05D14-5BE8-41BB-94B4-60906A67E88C}">
      <dsp:nvSpPr>
        <dsp:cNvPr id="0" name=""/>
        <dsp:cNvSpPr/>
      </dsp:nvSpPr>
      <dsp:spPr>
        <a:xfrm rot="5400000">
          <a:off x="2736086" y="-1686983"/>
          <a:ext cx="974167" cy="434813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Nye medarbejde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Screeninger af kommunen  for lavbund, vådområder, Projekter lavbund, vådområder, skovrejsning  indtegnes i Mars  (omlægningsplan)</a:t>
          </a:r>
        </a:p>
      </dsp:txBody>
      <dsp:txXfrm rot="-5400000">
        <a:off x="1049104" y="47554"/>
        <a:ext cx="4300578" cy="879057"/>
      </dsp:txXfrm>
    </dsp:sp>
    <dsp:sp modelId="{19C6CC59-5971-4AFC-9B72-554C3DA77905}">
      <dsp:nvSpPr>
        <dsp:cNvPr id="0" name=""/>
        <dsp:cNvSpPr/>
      </dsp:nvSpPr>
      <dsp:spPr>
        <a:xfrm rot="5400000">
          <a:off x="-224807" y="1529916"/>
          <a:ext cx="1498718" cy="1049103"/>
        </a:xfrm>
        <a:prstGeom prst="chevron">
          <a:avLst/>
        </a:prstGeom>
        <a:solidFill>
          <a:schemeClr val="tx2">
            <a:lumMod val="25000"/>
            <a:lumOff val="75000"/>
          </a:schemeClr>
        </a:solidFill>
        <a:ln w="2540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000" kern="1200" dirty="0" err="1"/>
            <a:t>Sept-nov</a:t>
          </a:r>
          <a:r>
            <a:rPr lang="da-DK" sz="2000" kern="1200" dirty="0"/>
            <a:t> </a:t>
          </a:r>
        </a:p>
      </dsp:txBody>
      <dsp:txXfrm rot="-5400000">
        <a:off x="1" y="1829661"/>
        <a:ext cx="1049103" cy="449615"/>
      </dsp:txXfrm>
    </dsp:sp>
    <dsp:sp modelId="{B62F429B-B749-4644-9813-A92D6E11BEC6}">
      <dsp:nvSpPr>
        <dsp:cNvPr id="0" name=""/>
        <dsp:cNvSpPr/>
      </dsp:nvSpPr>
      <dsp:spPr>
        <a:xfrm rot="5400000">
          <a:off x="2736086" y="-381874"/>
          <a:ext cx="974167" cy="434813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8 Lodsejermøder 650 deltagere skitser drøftet 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Omlægningsplan justeres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b="1" kern="1200" dirty="0">
              <a:solidFill>
                <a:srgbClr val="FF0000"/>
              </a:solidFill>
            </a:rPr>
            <a:t>Grønt Råd Drøfter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da-DK" sz="1300" kern="1200" dirty="0"/>
        </a:p>
      </dsp:txBody>
      <dsp:txXfrm rot="-5400000">
        <a:off x="1049104" y="1352663"/>
        <a:ext cx="4300578" cy="879057"/>
      </dsp:txXfrm>
    </dsp:sp>
    <dsp:sp modelId="{29C04DD5-D454-499B-8C02-94FED4BB6786}">
      <dsp:nvSpPr>
        <dsp:cNvPr id="0" name=""/>
        <dsp:cNvSpPr/>
      </dsp:nvSpPr>
      <dsp:spPr>
        <a:xfrm rot="5400000">
          <a:off x="-224807" y="2833248"/>
          <a:ext cx="1498718" cy="1049103"/>
        </a:xfrm>
        <a:prstGeom prst="chevron">
          <a:avLst/>
        </a:prstGeom>
        <a:solidFill>
          <a:schemeClr val="tx2">
            <a:lumMod val="25000"/>
            <a:lumOff val="75000"/>
          </a:schemeClr>
        </a:solidFill>
        <a:ln w="2540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000" kern="1200" dirty="0" err="1"/>
            <a:t>Dec</a:t>
          </a:r>
          <a:endParaRPr lang="da-DK" sz="2000" kern="1200" dirty="0"/>
        </a:p>
      </dsp:txBody>
      <dsp:txXfrm rot="-5400000">
        <a:off x="1" y="3132993"/>
        <a:ext cx="1049103" cy="449615"/>
      </dsp:txXfrm>
    </dsp:sp>
    <dsp:sp modelId="{F6736493-4342-43DC-BD6F-E36D25EE8F7B}">
      <dsp:nvSpPr>
        <dsp:cNvPr id="0" name=""/>
        <dsp:cNvSpPr/>
      </dsp:nvSpPr>
      <dsp:spPr>
        <a:xfrm rot="5400000">
          <a:off x="2736086" y="921457"/>
          <a:ext cx="974167" cy="434813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MTP og Byråd principvedtager planen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300" kern="1200" dirty="0"/>
            <a:t>Sendes til SGAV </a:t>
          </a:r>
        </a:p>
      </dsp:txBody>
      <dsp:txXfrm rot="-5400000">
        <a:off x="1049104" y="2655995"/>
        <a:ext cx="4300578" cy="8790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4537868E-FDA1-8520-DD44-DAF19FB452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0F82362-E8DD-7358-FAC5-7D3B1A6C70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80C656-D373-4490-94CA-4985EEE1F1F6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ADEF713-E49B-98FF-B704-891886D9811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CC999E4F-5C10-6E61-9849-141A65E281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DB7DFA-0853-47B9-A52B-360998EF02D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43149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BC166E-1868-4E77-8F8B-33AE68530FAD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3592A2-E607-4826-B293-40AB9390CD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8691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b="0" dirty="0"/>
              <a:t>Teknisk potentialekort – ikke en ejendomsmæssig undersøgelse</a:t>
            </a:r>
          </a:p>
          <a:p>
            <a:pPr marL="0" indent="0">
              <a:buFontTx/>
              <a:buNone/>
            </a:pPr>
            <a:r>
              <a:rPr lang="da-DK" b="0" dirty="0"/>
              <a:t>---</a:t>
            </a:r>
          </a:p>
          <a:p>
            <a:pPr marL="0" indent="0">
              <a:buFontTx/>
              <a:buNone/>
            </a:pPr>
            <a:r>
              <a:rPr lang="da-DK" b="0" dirty="0"/>
              <a:t>Typer af omlægningsprojekter </a:t>
            </a:r>
            <a:r>
              <a:rPr lang="da-DK" b="0" dirty="0">
                <a:sym typeface="Wingdings" panose="05000000000000000000" pitchFamily="2" charset="2"/>
              </a:rPr>
              <a:t> alle virkemidler skal i brug</a:t>
            </a:r>
          </a:p>
          <a:p>
            <a:endParaRPr lang="da-DK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a-DK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Y KATEGORI: </a:t>
            </a:r>
          </a:p>
          <a:p>
            <a:r>
              <a:rPr lang="da-DK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tegning af naturprojekter – herunder forslag til større sammenhængende naturområder - kan ligesom med øvrige projektforslag, kun indtegnes i omlægningsplanen, hvis der er enighed herom i den lokale trepart. </a:t>
            </a:r>
            <a:endParaRPr lang="da-DK" b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85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0E3260-E626-45DF-AAB4-EB5A3DF56D5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851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91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1CF06-F433-93C0-83AE-E576C2D67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7649969A-47CA-45D7-B883-D6921DE91E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EC701FF-B43C-A930-75AD-A5745E0A62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a-DK" dirty="0"/>
              <a:t>Antal: 510</a:t>
            </a:r>
          </a:p>
          <a:p>
            <a:pPr lvl="0"/>
            <a:r>
              <a:rPr lang="da-DK" dirty="0"/>
              <a:t>Projektareal: 8.778 ha</a:t>
            </a:r>
          </a:p>
          <a:p>
            <a:pPr lvl="0"/>
            <a:r>
              <a:rPr lang="da-DK" dirty="0"/>
              <a:t>Samlet N: 515 to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D8B6AD2-F40A-3D42-415F-3D8897E7E9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6864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>
                <a:latin typeface="Georgia" panose="02040502050405020303" pitchFamily="18" charset="0"/>
              </a:rPr>
              <a:t>Ikke bindende mål for Skovrejsning og Natur – det er derfor en KAN opgav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149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3592A2-E607-4826-B293-40AB9390CD70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11835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3592A2-E607-4826-B293-40AB9390CD70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8315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45AB5E-E2B2-6D8B-1327-544582576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0292412C-A621-43EE-C5C8-4DAD8C6D3C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482CFF95-4CFA-2330-6834-F65F38C1BB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arkudledningskortet fra SEG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9418B38-1688-5EE3-84D3-B49A076A96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16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gler stadig at indtegne en del projekter – genvurderes om 2 uger. Umiddelbart vurderes målindfrielse muligt, men det kræver tørre projekter på en stor andel af markfladen i enkelte </a:t>
            </a:r>
            <a:r>
              <a:rPr lang="da-DK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oplande</a:t>
            </a:r>
            <a:r>
              <a:rPr lang="da-DK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3592A2-E607-4826-B293-40AB9390CD70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4507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6A8A4-B449-B8FD-FC47-DFFC88E65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64964291-6B5C-D509-69CE-B980F4CE68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BBA2D4AC-6EF2-B82D-C6B6-81A96ACA4F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912FE84-73E5-DB80-5AF3-6E4BD9F920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131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D03275-2603-2942-8163-5EA05B70E341}" type="slidenum">
              <a:rPr lang="en-DK" smtClean="0"/>
              <a:t>15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97644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6B9EC-AA2D-974E-E68E-2B00F477F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D16BB7E-5D41-D995-E9E7-E53D19E8F9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199F886A-A697-4299-E6B0-0B6C10E92C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a-DK" dirty="0"/>
              <a:t>Antal: 331</a:t>
            </a:r>
          </a:p>
          <a:p>
            <a:pPr lvl="0"/>
            <a:r>
              <a:rPr lang="da-DK" dirty="0"/>
              <a:t>Projektareal: 8.001 ha</a:t>
            </a:r>
          </a:p>
          <a:p>
            <a:pPr lvl="0"/>
            <a:r>
              <a:rPr lang="da-DK" dirty="0"/>
              <a:t>Samlet N: 515 to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7C1C347-4B5B-AC1C-07FD-AF01C841D6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221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85311-21D5-9086-B1A6-CFDDE2B0CA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77CF6DE3-7403-2BC1-143A-A7233D4B8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D673C295-DA7D-03D8-49A5-0865A2F291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a-DK" dirty="0"/>
              <a:t>Antal: 510</a:t>
            </a:r>
          </a:p>
          <a:p>
            <a:pPr lvl="0"/>
            <a:r>
              <a:rPr lang="da-DK" dirty="0"/>
              <a:t>Projektareal: 8.798 ha</a:t>
            </a:r>
          </a:p>
          <a:p>
            <a:pPr lvl="0"/>
            <a:r>
              <a:rPr lang="da-DK" dirty="0"/>
              <a:t>Samlet N: 515 tons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90D7463-F1E6-EFB1-E4B9-E9AFD84774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88CD5-953C-4C6A-A9A5-20600450BAC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147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16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9.emf"/><Relationship Id="rId4" Type="http://schemas.openxmlformats.org/officeDocument/2006/relationships/image" Target="../media/image18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4.jpeg"/><Relationship Id="rId4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5.jpeg"/><Relationship Id="rId4" Type="http://schemas.openxmlformats.org/officeDocument/2006/relationships/image" Target="../media/image20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9.emf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1.png"/><Relationship Id="rId4" Type="http://schemas.openxmlformats.org/officeDocument/2006/relationships/image" Target="../media/image6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png"/><Relationship Id="rId4" Type="http://schemas.openxmlformats.org/officeDocument/2006/relationships/image" Target="../media/image23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16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7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9.emf"/><Relationship Id="rId4" Type="http://schemas.openxmlformats.org/officeDocument/2006/relationships/image" Target="../media/image18.jpe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jpeg"/><Relationship Id="rId4" Type="http://schemas.openxmlformats.org/officeDocument/2006/relationships/image" Target="../media/image2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jpeg"/><Relationship Id="rId4" Type="http://schemas.openxmlformats.org/officeDocument/2006/relationships/image" Target="../media/image20.pn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jpe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emf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2.png"/><Relationship Id="rId4" Type="http://schemas.openxmlformats.org/officeDocument/2006/relationships/image" Target="../media/image23.sv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7200" y="2980800"/>
            <a:ext cx="8868514" cy="1080000"/>
          </a:xfrm>
        </p:spPr>
        <p:txBody>
          <a:bodyPr anchor="t"/>
          <a:lstStyle>
            <a:lvl1pPr algn="l">
              <a:defRPr sz="6600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1E718B0-B1C3-49DA-80D7-016684D3C7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1200" y="533990"/>
            <a:ext cx="9144000" cy="396000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226346" indent="0" algn="ctr">
              <a:buNone/>
              <a:defRPr sz="991"/>
            </a:lvl2pPr>
            <a:lvl3pPr marL="452691" indent="0" algn="ctr">
              <a:buNone/>
              <a:defRPr sz="892"/>
            </a:lvl3pPr>
            <a:lvl4pPr marL="679038" indent="0" algn="ctr">
              <a:buNone/>
              <a:defRPr sz="792"/>
            </a:lvl4pPr>
            <a:lvl5pPr marL="905381" indent="0" algn="ctr">
              <a:buNone/>
              <a:defRPr sz="792"/>
            </a:lvl5pPr>
            <a:lvl6pPr marL="1131726" indent="0" algn="ctr">
              <a:buNone/>
              <a:defRPr sz="792"/>
            </a:lvl6pPr>
            <a:lvl7pPr marL="1358071" indent="0" algn="ctr">
              <a:buNone/>
              <a:defRPr sz="792"/>
            </a:lvl7pPr>
            <a:lvl8pPr marL="1584415" indent="0" algn="ctr">
              <a:buNone/>
              <a:defRPr sz="792"/>
            </a:lvl8pPr>
            <a:lvl9pPr marL="1810760" indent="0" algn="ctr">
              <a:buNone/>
              <a:defRPr sz="792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534E40B-D120-400A-B347-AFFB07458E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443763" cy="39600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813939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DE7631C3-2801-4B8A-86BA-5891BD80B2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19999"/>
            <a:ext cx="4710093" cy="360699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2348753"/>
            <a:ext cx="9614100" cy="663389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</p:spTree>
    <p:extLst>
      <p:ext uri="{BB962C8B-B14F-4D97-AF65-F5344CB8AC3E}">
        <p14:creationId xmlns:p14="http://schemas.microsoft.com/office/powerpoint/2010/main" val="42725824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67752D0-E590-4D42-91E5-9EF47C78E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86DF33B-E022-442E-9CD5-96C25BC18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96C90EC-58F1-472B-BE0F-3F06D5F13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269104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063FB-AA30-4E61-8660-AD3028401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3174F53-A5BD-437C-BAF1-637053B12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B037060-1DD4-4639-9D58-49A66498F2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1916935-A127-404A-8D4F-ABEE59693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DB81FA2-9106-4E0B-B238-342C4EB88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81F119C-3AC1-4DCA-8249-7AACBA282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6885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C209BB-2DDD-44B9-9C94-A264ECCA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FAE54D09-F5AF-44A3-A934-E1E03F3A28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3AE5B29-1C11-484F-A4E8-29A93F863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C6AEFDD-0658-4443-A34D-659F1F9E3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1E9238E-A9B7-41C8-8E67-F117C7A24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78D6661-839E-4698-AAA8-B7F7AF9FA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24870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EF1420-AF0B-4DC7-99BD-7F4E8F1BF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C3222D4B-D3B4-4988-B172-42C880D5D1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E132D8F-880B-4725-8B93-8385F84CA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53CADC0-1F61-4F9B-897F-6F5122789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105DCC0-604F-4767-BE2E-16261F9D8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33858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82F94276-DA90-4115-9737-91BE808B8F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93F5F304-D286-4B0C-A3FE-80CD7D41B8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C680745-C870-47C1-8DB7-25DE4B913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078F3D2-4969-4F0B-84D4-2CBA7B14F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183BB2B-5221-4813-9C3D-73D48DE2E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981583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og indhold I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49458" y="311151"/>
            <a:ext cx="4294414" cy="5770562"/>
          </a:xfrm>
        </p:spPr>
        <p:txBody>
          <a:bodyPr/>
          <a:lstStyle>
            <a:lvl1pPr>
              <a:lnSpc>
                <a:spcPct val="88000"/>
              </a:lnSpc>
              <a:defRPr sz="3200">
                <a:solidFill>
                  <a:schemeClr val="accent2"/>
                </a:solidFill>
              </a:defRPr>
            </a:lvl1pPr>
            <a:lvl2pPr marL="0" indent="0">
              <a:lnSpc>
                <a:spcPct val="94000"/>
              </a:lnSpc>
              <a:buFont typeface="Arial" panose="020B0604020202020204" pitchFamily="34" charset="0"/>
              <a:buChar char="​"/>
              <a:defRPr sz="1500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5808191" y="311152"/>
            <a:ext cx="5732764" cy="5770563"/>
          </a:xfrm>
          <a:noFill/>
        </p:spPr>
        <p:txBody>
          <a:bodyPr lIns="0" t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1C5CA69-3483-4F6A-AA28-06E715AF2B38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6372F5-6CEF-440F-9F33-E912B7635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2145" y="1"/>
            <a:ext cx="1378027" cy="103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0732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228" y="188640"/>
            <a:ext cx="11720233" cy="6480000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273" y="2456525"/>
            <a:ext cx="3745062" cy="1655163"/>
          </a:xfrm>
          <a:prstGeom prst="rect">
            <a:avLst/>
          </a:prstGeom>
        </p:spPr>
      </p:pic>
      <p:sp>
        <p:nvSpPr>
          <p:cNvPr id="12" name="Tekstfelt 11"/>
          <p:cNvSpPr txBox="1"/>
          <p:nvPr userDrawn="1"/>
        </p:nvSpPr>
        <p:spPr>
          <a:xfrm>
            <a:off x="5303912" y="4951774"/>
            <a:ext cx="51274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b="1" dirty="0">
                <a:solidFill>
                  <a:schemeClr val="bg1"/>
                </a:solidFill>
                <a:latin typeface="+mj-lt"/>
              </a:rPr>
              <a:t>Handlekraft:</a:t>
            </a:r>
            <a:r>
              <a:rPr lang="da-DK" sz="1600" b="1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a-DK" sz="1600" dirty="0">
                <a:solidFill>
                  <a:schemeClr val="bg1"/>
                </a:solidFill>
                <a:latin typeface="+mn-lt"/>
              </a:rPr>
              <a:t>Vi får det til at ske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5303912" y="4293096"/>
            <a:ext cx="30509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b="1" dirty="0" err="1">
                <a:solidFill>
                  <a:schemeClr val="bg1"/>
                </a:solidFill>
                <a:latin typeface="+mj-lt"/>
              </a:rPr>
              <a:t>Glokal</a:t>
            </a:r>
            <a:r>
              <a:rPr lang="da-DK" sz="1600" b="1" dirty="0">
                <a:solidFill>
                  <a:schemeClr val="bg1"/>
                </a:solidFill>
                <a:latin typeface="+mj-lt"/>
              </a:rPr>
              <a:t>:</a:t>
            </a:r>
            <a:r>
              <a:rPr lang="da-DK" sz="1600" b="1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a-DK" sz="1600" dirty="0">
                <a:solidFill>
                  <a:schemeClr val="bg1"/>
                </a:solidFill>
                <a:latin typeface="+mn-lt"/>
              </a:rPr>
              <a:t>Storbyen</a:t>
            </a:r>
            <a:r>
              <a:rPr lang="da-DK" sz="1600" baseline="0" dirty="0">
                <a:solidFill>
                  <a:schemeClr val="bg1"/>
                </a:solidFill>
                <a:latin typeface="+mn-lt"/>
              </a:rPr>
              <a:t> i naturen</a:t>
            </a:r>
            <a:endParaRPr lang="da-DK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kstfelt 13"/>
          <p:cNvSpPr txBox="1"/>
          <p:nvPr userDrawn="1"/>
        </p:nvSpPr>
        <p:spPr>
          <a:xfrm>
            <a:off x="5303912" y="4622435"/>
            <a:ext cx="4954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b="1" dirty="0">
                <a:solidFill>
                  <a:schemeClr val="bg1"/>
                </a:solidFill>
                <a:latin typeface="+mj-lt"/>
              </a:rPr>
              <a:t>Grænseland:</a:t>
            </a:r>
            <a:r>
              <a:rPr lang="da-DK" sz="1600" b="1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a-DK" sz="1600" baseline="0" dirty="0">
                <a:solidFill>
                  <a:schemeClr val="bg1"/>
                </a:solidFill>
                <a:latin typeface="+mn-lt"/>
              </a:rPr>
              <a:t>Det bedste fra to verdener</a:t>
            </a:r>
          </a:p>
        </p:txBody>
      </p:sp>
    </p:spTree>
    <p:extLst>
      <p:ext uri="{BB962C8B-B14F-4D97-AF65-F5344CB8AC3E}">
        <p14:creationId xmlns:p14="http://schemas.microsoft.com/office/powerpoint/2010/main" val="691109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indhold 2"/>
          <p:cNvSpPr>
            <a:spLocks noGrp="1"/>
          </p:cNvSpPr>
          <p:nvPr>
            <p:ph idx="1"/>
          </p:nvPr>
        </p:nvSpPr>
        <p:spPr>
          <a:xfrm>
            <a:off x="550863" y="1844824"/>
            <a:ext cx="11161761" cy="4176464"/>
          </a:xfrm>
        </p:spPr>
        <p:txBody>
          <a:bodyPr/>
          <a:lstStyle>
            <a:lvl1pPr>
              <a:defRPr/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lvl2pPr>
            <a:lvl3pPr marL="540000" indent="0">
              <a:buNone/>
              <a:defRPr/>
            </a:lvl3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lvl="0"/>
            <a:r>
              <a:rPr lang="da-DK" dirty="0"/>
              <a:t>Indsæt OMRÅDE/KATEGORI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1748A9-F67B-36FA-0F96-092729FB5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3545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indhold 2"/>
          <p:cNvSpPr>
            <a:spLocks noGrp="1"/>
          </p:cNvSpPr>
          <p:nvPr>
            <p:ph sz="half" idx="1"/>
          </p:nvPr>
        </p:nvSpPr>
        <p:spPr>
          <a:xfrm>
            <a:off x="551385" y="1844824"/>
            <a:ext cx="5400600" cy="4248472"/>
          </a:xfrm>
        </p:spPr>
        <p:txBody>
          <a:bodyPr/>
          <a:lstStyle>
            <a:lvl1pPr>
              <a:defRPr sz="1800"/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Pladsholder til indhold 3"/>
          <p:cNvSpPr>
            <a:spLocks noGrp="1"/>
          </p:cNvSpPr>
          <p:nvPr>
            <p:ph sz="half" idx="2"/>
          </p:nvPr>
        </p:nvSpPr>
        <p:spPr>
          <a:xfrm>
            <a:off x="6154216" y="1853554"/>
            <a:ext cx="5558408" cy="4239742"/>
          </a:xfrm>
        </p:spPr>
        <p:txBody>
          <a:bodyPr/>
          <a:lstStyle>
            <a:lvl1pPr>
              <a:defRPr sz="1800"/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0864" y="1268760"/>
            <a:ext cx="1116176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7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Indsæt OMRÅDE/KATEGORI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00031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lvl="0"/>
            <a:r>
              <a:rPr lang="da-DK" dirty="0"/>
              <a:t>Indsæt OMRÅDE/KATEGORI</a:t>
            </a:r>
          </a:p>
        </p:txBody>
      </p:sp>
    </p:spTree>
    <p:extLst>
      <p:ext uri="{BB962C8B-B14F-4D97-AF65-F5344CB8AC3E}">
        <p14:creationId xmlns:p14="http://schemas.microsoft.com/office/powerpoint/2010/main" val="3050098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lide_Type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DE7631C3-2801-4B8A-86BA-5891BD80B2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200" y="6120000"/>
            <a:ext cx="4568050" cy="39621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7"/>
            <a:ext cx="9614100" cy="618565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0" y="1264025"/>
            <a:ext cx="9614100" cy="3056964"/>
          </a:xfrm>
        </p:spPr>
        <p:txBody>
          <a:bodyPr tIns="46800">
            <a:normAutofit/>
          </a:bodyPr>
          <a:lstStyle>
            <a:lvl1pPr marL="0" indent="0">
              <a:buFontTx/>
              <a:buNone/>
              <a:defRPr sz="2400"/>
            </a:lvl1pPr>
            <a:lvl2pPr marL="226345" indent="0">
              <a:buFontTx/>
              <a:buNone/>
              <a:defRPr sz="2400"/>
            </a:lvl2pPr>
            <a:lvl3pPr marL="452690" indent="0">
              <a:buFontTx/>
              <a:buNone/>
              <a:defRPr sz="2400"/>
            </a:lvl3pPr>
            <a:lvl4pPr marL="679035" indent="0">
              <a:buFontTx/>
              <a:buNone/>
              <a:defRPr sz="2400"/>
            </a:lvl4pPr>
            <a:lvl5pPr marL="905380" indent="0"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819542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2"/>
          <p:cNvSpPr>
            <a:spLocks noGrp="1"/>
          </p:cNvSpPr>
          <p:nvPr>
            <p:ph type="pic" idx="11" hasCustomPrompt="1"/>
          </p:nvPr>
        </p:nvSpPr>
        <p:spPr>
          <a:xfrm>
            <a:off x="191344" y="1052736"/>
            <a:ext cx="11809312" cy="52488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 Klik på ikonet for at tilføje et billede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lvl="0"/>
            <a:r>
              <a:rPr lang="da-DK" dirty="0"/>
              <a:t>Indsæt OMRÅDE/KATEGORI</a:t>
            </a:r>
          </a:p>
        </p:txBody>
      </p:sp>
    </p:spTree>
    <p:extLst>
      <p:ext uri="{BB962C8B-B14F-4D97-AF65-F5344CB8AC3E}">
        <p14:creationId xmlns:p14="http://schemas.microsoft.com/office/powerpoint/2010/main" val="19442755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50863" y="1268759"/>
            <a:ext cx="4055424" cy="1162050"/>
          </a:xfrm>
        </p:spPr>
        <p:txBody>
          <a:bodyPr anchor="b"/>
          <a:lstStyle>
            <a:lvl1pPr algn="l">
              <a:defRPr sz="2000" b="1">
                <a:latin typeface="+mj-lt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Pladsholder til indhold 2"/>
          <p:cNvSpPr>
            <a:spLocks noGrp="1"/>
          </p:cNvSpPr>
          <p:nvPr>
            <p:ph idx="1"/>
          </p:nvPr>
        </p:nvSpPr>
        <p:spPr>
          <a:xfrm>
            <a:off x="4727848" y="1250504"/>
            <a:ext cx="3561515" cy="4842792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 sz="1800">
                <a:latin typeface="+mn-lt"/>
              </a:defRPr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550863" y="2624508"/>
            <a:ext cx="4055424" cy="3468788"/>
          </a:xfrm>
        </p:spPr>
        <p:txBody>
          <a:bodyPr/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indhold 2"/>
          <p:cNvSpPr>
            <a:spLocks noGrp="1"/>
          </p:cNvSpPr>
          <p:nvPr>
            <p:ph idx="11"/>
          </p:nvPr>
        </p:nvSpPr>
        <p:spPr>
          <a:xfrm>
            <a:off x="8410924" y="1246434"/>
            <a:ext cx="3561515" cy="4846862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800">
                <a:latin typeface="+mn-lt"/>
              </a:defRPr>
            </a:lvl2pPr>
            <a:lvl3pPr>
              <a:tabLst/>
              <a:defRPr sz="1400"/>
            </a:lvl3pPr>
            <a:lvl4pPr>
              <a:tabLst/>
              <a:defRPr sz="1200"/>
            </a:lvl4pPr>
            <a:lvl5pPr>
              <a:tabLst/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9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lvl="0"/>
            <a:r>
              <a:rPr lang="da-DK" dirty="0"/>
              <a:t>Indsæt OMRÅDE/KATEGORI</a:t>
            </a:r>
          </a:p>
        </p:txBody>
      </p:sp>
    </p:spTree>
    <p:extLst>
      <p:ext uri="{BB962C8B-B14F-4D97-AF65-F5344CB8AC3E}">
        <p14:creationId xmlns:p14="http://schemas.microsoft.com/office/powerpoint/2010/main" val="20645726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519936" y="1268760"/>
            <a:ext cx="6336704" cy="432048"/>
          </a:xfrm>
        </p:spPr>
        <p:txBody>
          <a:bodyPr anchor="b"/>
          <a:lstStyle>
            <a:lvl1pPr algn="l">
              <a:defRPr sz="2000" b="1">
                <a:latin typeface="+mj-lt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0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5529506" y="1988840"/>
            <a:ext cx="6327134" cy="365918"/>
          </a:xfrm>
        </p:spPr>
        <p:txBody>
          <a:bodyPr/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Pladsholder til billede 2"/>
          <p:cNvSpPr>
            <a:spLocks noGrp="1"/>
          </p:cNvSpPr>
          <p:nvPr>
            <p:ph type="pic" idx="1"/>
          </p:nvPr>
        </p:nvSpPr>
        <p:spPr>
          <a:xfrm>
            <a:off x="191344" y="1052736"/>
            <a:ext cx="5184576" cy="504056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5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550863" y="549275"/>
            <a:ext cx="4825057" cy="4318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250" baseline="0">
                <a:latin typeface="+mn-lt"/>
              </a:defRPr>
            </a:lvl1pPr>
            <a:lvl2pPr marL="0" indent="0" algn="l">
              <a:buNone/>
              <a:defRPr sz="1250">
                <a:latin typeface="+mn-lt"/>
              </a:defRPr>
            </a:lvl2pPr>
            <a:lvl3pPr marL="540000" indent="0" algn="l">
              <a:buNone/>
              <a:defRPr sz="1250">
                <a:latin typeface="+mn-lt"/>
              </a:defRPr>
            </a:lvl3pPr>
            <a:lvl4pPr marL="849600" indent="0" algn="l">
              <a:buNone/>
              <a:defRPr sz="1250">
                <a:latin typeface="+mn-lt"/>
              </a:defRPr>
            </a:lvl4pPr>
            <a:lvl5pPr marL="1119600" indent="0" algn="l">
              <a:buNone/>
              <a:defRPr sz="1250">
                <a:latin typeface="+mn-lt"/>
              </a:defRPr>
            </a:lvl5pPr>
          </a:lstStyle>
          <a:p>
            <a:pPr lvl="0"/>
            <a:r>
              <a:rPr lang="da-DK" dirty="0"/>
              <a:t>Indsæt OMRÅDE/KATEGORI</a:t>
            </a:r>
          </a:p>
        </p:txBody>
      </p:sp>
    </p:spTree>
    <p:extLst>
      <p:ext uri="{BB962C8B-B14F-4D97-AF65-F5344CB8AC3E}">
        <p14:creationId xmlns:p14="http://schemas.microsoft.com/office/powerpoint/2010/main" val="3875355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0">
            <a:extLst>
              <a:ext uri="{FF2B5EF4-FFF2-40B4-BE49-F238E27FC236}">
                <a16:creationId xmlns:a16="http://schemas.microsoft.com/office/drawing/2014/main" id="{C918915E-BEE7-4BB1-B9B5-5DDCA1742F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2588" y="274918"/>
            <a:ext cx="5573043" cy="475407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77"/>
              <a:gd name="connsiteY0" fmla="*/ 0 h 22463"/>
              <a:gd name="connsiteX1" fmla="*/ 21600 w 21677"/>
              <a:gd name="connsiteY1" fmla="*/ 0 h 22463"/>
              <a:gd name="connsiteX2" fmla="*/ 21677 w 21677"/>
              <a:gd name="connsiteY2" fmla="*/ 21940 h 22463"/>
              <a:gd name="connsiteX3" fmla="*/ 0 w 21677"/>
              <a:gd name="connsiteY3" fmla="*/ 20172 h 22463"/>
              <a:gd name="connsiteX4" fmla="*/ 0 w 21677"/>
              <a:gd name="connsiteY4" fmla="*/ 0 h 22463"/>
              <a:gd name="connsiteX0" fmla="*/ 0 w 21677"/>
              <a:gd name="connsiteY0" fmla="*/ 0 h 23519"/>
              <a:gd name="connsiteX1" fmla="*/ 21600 w 21677"/>
              <a:gd name="connsiteY1" fmla="*/ 0 h 23519"/>
              <a:gd name="connsiteX2" fmla="*/ 21677 w 21677"/>
              <a:gd name="connsiteY2" fmla="*/ 21940 h 23519"/>
              <a:gd name="connsiteX3" fmla="*/ 18217 w 21677"/>
              <a:gd name="connsiteY3" fmla="*/ 21498 h 23519"/>
              <a:gd name="connsiteX4" fmla="*/ 0 w 21677"/>
              <a:gd name="connsiteY4" fmla="*/ 20172 h 23519"/>
              <a:gd name="connsiteX5" fmla="*/ 0 w 21677"/>
              <a:gd name="connsiteY5" fmla="*/ 0 h 23519"/>
              <a:gd name="connsiteX0" fmla="*/ 0 w 21677"/>
              <a:gd name="connsiteY0" fmla="*/ 0 h 22138"/>
              <a:gd name="connsiteX1" fmla="*/ 21600 w 21677"/>
              <a:gd name="connsiteY1" fmla="*/ 0 h 22138"/>
              <a:gd name="connsiteX2" fmla="*/ 21677 w 21677"/>
              <a:gd name="connsiteY2" fmla="*/ 21940 h 22138"/>
              <a:gd name="connsiteX3" fmla="*/ 18217 w 21677"/>
              <a:gd name="connsiteY3" fmla="*/ 21498 h 22138"/>
              <a:gd name="connsiteX4" fmla="*/ 0 w 21677"/>
              <a:gd name="connsiteY4" fmla="*/ 20172 h 22138"/>
              <a:gd name="connsiteX5" fmla="*/ 0 w 21677"/>
              <a:gd name="connsiteY5" fmla="*/ 0 h 22138"/>
              <a:gd name="connsiteX0" fmla="*/ 0 w 21677"/>
              <a:gd name="connsiteY0" fmla="*/ 0 h 22138"/>
              <a:gd name="connsiteX1" fmla="*/ 21600 w 21677"/>
              <a:gd name="connsiteY1" fmla="*/ 0 h 22138"/>
              <a:gd name="connsiteX2" fmla="*/ 21677 w 21677"/>
              <a:gd name="connsiteY2" fmla="*/ 21940 h 22138"/>
              <a:gd name="connsiteX3" fmla="*/ 20165 w 21677"/>
              <a:gd name="connsiteY3" fmla="*/ 21904 h 22138"/>
              <a:gd name="connsiteX4" fmla="*/ 18217 w 21677"/>
              <a:gd name="connsiteY4" fmla="*/ 21498 h 22138"/>
              <a:gd name="connsiteX5" fmla="*/ 0 w 21677"/>
              <a:gd name="connsiteY5" fmla="*/ 20172 h 22138"/>
              <a:gd name="connsiteX6" fmla="*/ 0 w 21677"/>
              <a:gd name="connsiteY6" fmla="*/ 0 h 22138"/>
              <a:gd name="connsiteX0" fmla="*/ 0 w 21677"/>
              <a:gd name="connsiteY0" fmla="*/ 0 h 22115"/>
              <a:gd name="connsiteX1" fmla="*/ 21600 w 21677"/>
              <a:gd name="connsiteY1" fmla="*/ 0 h 22115"/>
              <a:gd name="connsiteX2" fmla="*/ 21677 w 21677"/>
              <a:gd name="connsiteY2" fmla="*/ 21940 h 22115"/>
              <a:gd name="connsiteX3" fmla="*/ 20165 w 21677"/>
              <a:gd name="connsiteY3" fmla="*/ 21904 h 22115"/>
              <a:gd name="connsiteX4" fmla="*/ 18012 w 21677"/>
              <a:gd name="connsiteY4" fmla="*/ 21436 h 22115"/>
              <a:gd name="connsiteX5" fmla="*/ 0 w 21677"/>
              <a:gd name="connsiteY5" fmla="*/ 20172 h 22115"/>
              <a:gd name="connsiteX6" fmla="*/ 0 w 21677"/>
              <a:gd name="connsiteY6" fmla="*/ 0 h 22115"/>
              <a:gd name="connsiteX0" fmla="*/ 0 w 21677"/>
              <a:gd name="connsiteY0" fmla="*/ 0 h 21957"/>
              <a:gd name="connsiteX1" fmla="*/ 21600 w 21677"/>
              <a:gd name="connsiteY1" fmla="*/ 0 h 21957"/>
              <a:gd name="connsiteX2" fmla="*/ 21677 w 21677"/>
              <a:gd name="connsiteY2" fmla="*/ 21940 h 21957"/>
              <a:gd name="connsiteX3" fmla="*/ 20165 w 21677"/>
              <a:gd name="connsiteY3" fmla="*/ 21904 h 21957"/>
              <a:gd name="connsiteX4" fmla="*/ 18012 w 21677"/>
              <a:gd name="connsiteY4" fmla="*/ 21436 h 21957"/>
              <a:gd name="connsiteX5" fmla="*/ 14527 w 21677"/>
              <a:gd name="connsiteY5" fmla="*/ 20999 h 21957"/>
              <a:gd name="connsiteX6" fmla="*/ 0 w 21677"/>
              <a:gd name="connsiteY6" fmla="*/ 20172 h 21957"/>
              <a:gd name="connsiteX7" fmla="*/ 0 w 21677"/>
              <a:gd name="connsiteY7" fmla="*/ 0 h 21957"/>
              <a:gd name="connsiteX0" fmla="*/ 0 w 21677"/>
              <a:gd name="connsiteY0" fmla="*/ 0 h 22014"/>
              <a:gd name="connsiteX1" fmla="*/ 21600 w 21677"/>
              <a:gd name="connsiteY1" fmla="*/ 0 h 22014"/>
              <a:gd name="connsiteX2" fmla="*/ 21677 w 21677"/>
              <a:gd name="connsiteY2" fmla="*/ 21940 h 22014"/>
              <a:gd name="connsiteX3" fmla="*/ 20165 w 21677"/>
              <a:gd name="connsiteY3" fmla="*/ 21904 h 22014"/>
              <a:gd name="connsiteX4" fmla="*/ 18012 w 21677"/>
              <a:gd name="connsiteY4" fmla="*/ 21436 h 22014"/>
              <a:gd name="connsiteX5" fmla="*/ 14527 w 21677"/>
              <a:gd name="connsiteY5" fmla="*/ 20999 h 22014"/>
              <a:gd name="connsiteX6" fmla="*/ 11426 w 21677"/>
              <a:gd name="connsiteY6" fmla="*/ 21186 h 22014"/>
              <a:gd name="connsiteX7" fmla="*/ 0 w 21677"/>
              <a:gd name="connsiteY7" fmla="*/ 20172 h 22014"/>
              <a:gd name="connsiteX8" fmla="*/ 0 w 21677"/>
              <a:gd name="connsiteY8" fmla="*/ 0 h 22014"/>
              <a:gd name="connsiteX0" fmla="*/ 0 w 21677"/>
              <a:gd name="connsiteY0" fmla="*/ 0 h 22267"/>
              <a:gd name="connsiteX1" fmla="*/ 21600 w 21677"/>
              <a:gd name="connsiteY1" fmla="*/ 0 h 22267"/>
              <a:gd name="connsiteX2" fmla="*/ 21677 w 21677"/>
              <a:gd name="connsiteY2" fmla="*/ 21940 h 22267"/>
              <a:gd name="connsiteX3" fmla="*/ 20165 w 21677"/>
              <a:gd name="connsiteY3" fmla="*/ 21904 h 22267"/>
              <a:gd name="connsiteX4" fmla="*/ 18012 w 21677"/>
              <a:gd name="connsiteY4" fmla="*/ 21436 h 22267"/>
              <a:gd name="connsiteX5" fmla="*/ 14527 w 21677"/>
              <a:gd name="connsiteY5" fmla="*/ 20999 h 22267"/>
              <a:gd name="connsiteX6" fmla="*/ 10939 w 21677"/>
              <a:gd name="connsiteY6" fmla="*/ 21810 h 22267"/>
              <a:gd name="connsiteX7" fmla="*/ 0 w 21677"/>
              <a:gd name="connsiteY7" fmla="*/ 20172 h 22267"/>
              <a:gd name="connsiteX8" fmla="*/ 0 w 21677"/>
              <a:gd name="connsiteY8" fmla="*/ 0 h 22267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0939 w 21677"/>
              <a:gd name="connsiteY7" fmla="*/ 21810 h 22232"/>
              <a:gd name="connsiteX8" fmla="*/ 0 w 21677"/>
              <a:gd name="connsiteY8" fmla="*/ 20172 h 22232"/>
              <a:gd name="connsiteX9" fmla="*/ 0 w 21677"/>
              <a:gd name="connsiteY9" fmla="*/ 0 h 22232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0939 w 21677"/>
              <a:gd name="connsiteY7" fmla="*/ 21810 h 22232"/>
              <a:gd name="connsiteX8" fmla="*/ 0 w 21677"/>
              <a:gd name="connsiteY8" fmla="*/ 20172 h 22232"/>
              <a:gd name="connsiteX9" fmla="*/ 0 w 21677"/>
              <a:gd name="connsiteY9" fmla="*/ 0 h 22232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1867 w 21677"/>
              <a:gd name="connsiteY7" fmla="*/ 21904 h 22232"/>
              <a:gd name="connsiteX8" fmla="*/ 10939 w 21677"/>
              <a:gd name="connsiteY8" fmla="*/ 21810 h 22232"/>
              <a:gd name="connsiteX9" fmla="*/ 0 w 21677"/>
              <a:gd name="connsiteY9" fmla="*/ 20172 h 22232"/>
              <a:gd name="connsiteX10" fmla="*/ 0 w 21677"/>
              <a:gd name="connsiteY10" fmla="*/ 0 h 22232"/>
              <a:gd name="connsiteX0" fmla="*/ 0 w 21677"/>
              <a:gd name="connsiteY0" fmla="*/ 0 h 22065"/>
              <a:gd name="connsiteX1" fmla="*/ 21600 w 21677"/>
              <a:gd name="connsiteY1" fmla="*/ 0 h 22065"/>
              <a:gd name="connsiteX2" fmla="*/ 21677 w 21677"/>
              <a:gd name="connsiteY2" fmla="*/ 21940 h 22065"/>
              <a:gd name="connsiteX3" fmla="*/ 20165 w 21677"/>
              <a:gd name="connsiteY3" fmla="*/ 21904 h 22065"/>
              <a:gd name="connsiteX4" fmla="*/ 18012 w 21677"/>
              <a:gd name="connsiteY4" fmla="*/ 21436 h 22065"/>
              <a:gd name="connsiteX5" fmla="*/ 14527 w 21677"/>
              <a:gd name="connsiteY5" fmla="*/ 20999 h 22065"/>
              <a:gd name="connsiteX6" fmla="*/ 12820 w 21677"/>
              <a:gd name="connsiteY6" fmla="*/ 21342 h 22065"/>
              <a:gd name="connsiteX7" fmla="*/ 11867 w 21677"/>
              <a:gd name="connsiteY7" fmla="*/ 21904 h 22065"/>
              <a:gd name="connsiteX8" fmla="*/ 10939 w 21677"/>
              <a:gd name="connsiteY8" fmla="*/ 21810 h 22065"/>
              <a:gd name="connsiteX9" fmla="*/ 7310 w 21677"/>
              <a:gd name="connsiteY9" fmla="*/ 21249 h 22065"/>
              <a:gd name="connsiteX10" fmla="*/ 0 w 21677"/>
              <a:gd name="connsiteY10" fmla="*/ 20172 h 22065"/>
              <a:gd name="connsiteX11" fmla="*/ 0 w 21677"/>
              <a:gd name="connsiteY11" fmla="*/ 0 h 22065"/>
              <a:gd name="connsiteX0" fmla="*/ 0 w 21677"/>
              <a:gd name="connsiteY0" fmla="*/ 0 h 22492"/>
              <a:gd name="connsiteX1" fmla="*/ 21600 w 21677"/>
              <a:gd name="connsiteY1" fmla="*/ 0 h 22492"/>
              <a:gd name="connsiteX2" fmla="*/ 21677 w 21677"/>
              <a:gd name="connsiteY2" fmla="*/ 21940 h 22492"/>
              <a:gd name="connsiteX3" fmla="*/ 20165 w 21677"/>
              <a:gd name="connsiteY3" fmla="*/ 21904 h 22492"/>
              <a:gd name="connsiteX4" fmla="*/ 18012 w 21677"/>
              <a:gd name="connsiteY4" fmla="*/ 21436 h 22492"/>
              <a:gd name="connsiteX5" fmla="*/ 14527 w 21677"/>
              <a:gd name="connsiteY5" fmla="*/ 20999 h 22492"/>
              <a:gd name="connsiteX6" fmla="*/ 12820 w 21677"/>
              <a:gd name="connsiteY6" fmla="*/ 21342 h 22492"/>
              <a:gd name="connsiteX7" fmla="*/ 11867 w 21677"/>
              <a:gd name="connsiteY7" fmla="*/ 21904 h 22492"/>
              <a:gd name="connsiteX8" fmla="*/ 10939 w 21677"/>
              <a:gd name="connsiteY8" fmla="*/ 21810 h 22492"/>
              <a:gd name="connsiteX9" fmla="*/ 7310 w 21677"/>
              <a:gd name="connsiteY9" fmla="*/ 21249 h 22492"/>
              <a:gd name="connsiteX10" fmla="*/ 4503 w 21677"/>
              <a:gd name="connsiteY10" fmla="*/ 22216 h 22492"/>
              <a:gd name="connsiteX11" fmla="*/ 0 w 21677"/>
              <a:gd name="connsiteY11" fmla="*/ 20172 h 22492"/>
              <a:gd name="connsiteX12" fmla="*/ 0 w 21677"/>
              <a:gd name="connsiteY12" fmla="*/ 0 h 22492"/>
              <a:gd name="connsiteX0" fmla="*/ 0 w 21677"/>
              <a:gd name="connsiteY0" fmla="*/ 0 h 22254"/>
              <a:gd name="connsiteX1" fmla="*/ 21600 w 21677"/>
              <a:gd name="connsiteY1" fmla="*/ 0 h 22254"/>
              <a:gd name="connsiteX2" fmla="*/ 21677 w 21677"/>
              <a:gd name="connsiteY2" fmla="*/ 21940 h 22254"/>
              <a:gd name="connsiteX3" fmla="*/ 20165 w 21677"/>
              <a:gd name="connsiteY3" fmla="*/ 21904 h 22254"/>
              <a:gd name="connsiteX4" fmla="*/ 18012 w 21677"/>
              <a:gd name="connsiteY4" fmla="*/ 21436 h 22254"/>
              <a:gd name="connsiteX5" fmla="*/ 14527 w 21677"/>
              <a:gd name="connsiteY5" fmla="*/ 20999 h 22254"/>
              <a:gd name="connsiteX6" fmla="*/ 12820 w 21677"/>
              <a:gd name="connsiteY6" fmla="*/ 21342 h 22254"/>
              <a:gd name="connsiteX7" fmla="*/ 11867 w 21677"/>
              <a:gd name="connsiteY7" fmla="*/ 21904 h 22254"/>
              <a:gd name="connsiteX8" fmla="*/ 10939 w 21677"/>
              <a:gd name="connsiteY8" fmla="*/ 21810 h 22254"/>
              <a:gd name="connsiteX9" fmla="*/ 7310 w 21677"/>
              <a:gd name="connsiteY9" fmla="*/ 21249 h 22254"/>
              <a:gd name="connsiteX10" fmla="*/ 4503 w 21677"/>
              <a:gd name="connsiteY10" fmla="*/ 22216 h 22254"/>
              <a:gd name="connsiteX11" fmla="*/ 2469 w 21677"/>
              <a:gd name="connsiteY11" fmla="*/ 21498 h 22254"/>
              <a:gd name="connsiteX12" fmla="*/ 0 w 21677"/>
              <a:gd name="connsiteY12" fmla="*/ 20172 h 22254"/>
              <a:gd name="connsiteX13" fmla="*/ 0 w 21677"/>
              <a:gd name="connsiteY13" fmla="*/ 0 h 22254"/>
              <a:gd name="connsiteX0" fmla="*/ 0 w 21677"/>
              <a:gd name="connsiteY0" fmla="*/ 0 h 22292"/>
              <a:gd name="connsiteX1" fmla="*/ 21600 w 21677"/>
              <a:gd name="connsiteY1" fmla="*/ 0 h 22292"/>
              <a:gd name="connsiteX2" fmla="*/ 21677 w 21677"/>
              <a:gd name="connsiteY2" fmla="*/ 21940 h 22292"/>
              <a:gd name="connsiteX3" fmla="*/ 20165 w 21677"/>
              <a:gd name="connsiteY3" fmla="*/ 21904 h 22292"/>
              <a:gd name="connsiteX4" fmla="*/ 18012 w 21677"/>
              <a:gd name="connsiteY4" fmla="*/ 21436 h 22292"/>
              <a:gd name="connsiteX5" fmla="*/ 14527 w 21677"/>
              <a:gd name="connsiteY5" fmla="*/ 20999 h 22292"/>
              <a:gd name="connsiteX6" fmla="*/ 12820 w 21677"/>
              <a:gd name="connsiteY6" fmla="*/ 21342 h 22292"/>
              <a:gd name="connsiteX7" fmla="*/ 11867 w 21677"/>
              <a:gd name="connsiteY7" fmla="*/ 21904 h 22292"/>
              <a:gd name="connsiteX8" fmla="*/ 10939 w 21677"/>
              <a:gd name="connsiteY8" fmla="*/ 21810 h 22292"/>
              <a:gd name="connsiteX9" fmla="*/ 7310 w 21677"/>
              <a:gd name="connsiteY9" fmla="*/ 21249 h 22292"/>
              <a:gd name="connsiteX10" fmla="*/ 4503 w 21677"/>
              <a:gd name="connsiteY10" fmla="*/ 22216 h 22292"/>
              <a:gd name="connsiteX11" fmla="*/ 2315 w 21677"/>
              <a:gd name="connsiteY11" fmla="*/ 21841 h 22292"/>
              <a:gd name="connsiteX12" fmla="*/ 0 w 21677"/>
              <a:gd name="connsiteY12" fmla="*/ 20172 h 22292"/>
              <a:gd name="connsiteX13" fmla="*/ 0 w 21677"/>
              <a:gd name="connsiteY13" fmla="*/ 0 h 22292"/>
              <a:gd name="connsiteX0" fmla="*/ 0 w 21677"/>
              <a:gd name="connsiteY0" fmla="*/ 0 h 22292"/>
              <a:gd name="connsiteX1" fmla="*/ 21600 w 21677"/>
              <a:gd name="connsiteY1" fmla="*/ 0 h 22292"/>
              <a:gd name="connsiteX2" fmla="*/ 21677 w 21677"/>
              <a:gd name="connsiteY2" fmla="*/ 21940 h 22292"/>
              <a:gd name="connsiteX3" fmla="*/ 20165 w 21677"/>
              <a:gd name="connsiteY3" fmla="*/ 21904 h 22292"/>
              <a:gd name="connsiteX4" fmla="*/ 18012 w 21677"/>
              <a:gd name="connsiteY4" fmla="*/ 21436 h 22292"/>
              <a:gd name="connsiteX5" fmla="*/ 14527 w 21677"/>
              <a:gd name="connsiteY5" fmla="*/ 20999 h 22292"/>
              <a:gd name="connsiteX6" fmla="*/ 12820 w 21677"/>
              <a:gd name="connsiteY6" fmla="*/ 21342 h 22292"/>
              <a:gd name="connsiteX7" fmla="*/ 11867 w 21677"/>
              <a:gd name="connsiteY7" fmla="*/ 21904 h 22292"/>
              <a:gd name="connsiteX8" fmla="*/ 10939 w 21677"/>
              <a:gd name="connsiteY8" fmla="*/ 21810 h 22292"/>
              <a:gd name="connsiteX9" fmla="*/ 7310 w 21677"/>
              <a:gd name="connsiteY9" fmla="*/ 21249 h 22292"/>
              <a:gd name="connsiteX10" fmla="*/ 4503 w 21677"/>
              <a:gd name="connsiteY10" fmla="*/ 22216 h 22292"/>
              <a:gd name="connsiteX11" fmla="*/ 2315 w 21677"/>
              <a:gd name="connsiteY11" fmla="*/ 21841 h 22292"/>
              <a:gd name="connsiteX12" fmla="*/ 0 w 21677"/>
              <a:gd name="connsiteY12" fmla="*/ 20172 h 22292"/>
              <a:gd name="connsiteX13" fmla="*/ 0 w 21677"/>
              <a:gd name="connsiteY13" fmla="*/ 0 h 22292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0 w 21677"/>
              <a:gd name="connsiteY12" fmla="*/ 20172 h 22234"/>
              <a:gd name="connsiteX13" fmla="*/ 0 w 21677"/>
              <a:gd name="connsiteY13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821 w 21677"/>
              <a:gd name="connsiteY12" fmla="*/ 20406 h 22234"/>
              <a:gd name="connsiteX13" fmla="*/ 0 w 21677"/>
              <a:gd name="connsiteY13" fmla="*/ 20172 h 22234"/>
              <a:gd name="connsiteX14" fmla="*/ 0 w 21677"/>
              <a:gd name="connsiteY14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1465 w 21677"/>
              <a:gd name="connsiteY12" fmla="*/ 21436 h 22234"/>
              <a:gd name="connsiteX13" fmla="*/ 821 w 21677"/>
              <a:gd name="connsiteY13" fmla="*/ 20406 h 22234"/>
              <a:gd name="connsiteX14" fmla="*/ 0 w 21677"/>
              <a:gd name="connsiteY14" fmla="*/ 20172 h 22234"/>
              <a:gd name="connsiteX15" fmla="*/ 0 w 21677"/>
              <a:gd name="connsiteY15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4527 w 21677"/>
              <a:gd name="connsiteY6" fmla="*/ 20999 h 22234"/>
              <a:gd name="connsiteX7" fmla="*/ 12820 w 21677"/>
              <a:gd name="connsiteY7" fmla="*/ 21342 h 22234"/>
              <a:gd name="connsiteX8" fmla="*/ 11867 w 21677"/>
              <a:gd name="connsiteY8" fmla="*/ 21904 h 22234"/>
              <a:gd name="connsiteX9" fmla="*/ 10939 w 21677"/>
              <a:gd name="connsiteY9" fmla="*/ 21810 h 22234"/>
              <a:gd name="connsiteX10" fmla="*/ 7310 w 21677"/>
              <a:gd name="connsiteY10" fmla="*/ 21249 h 22234"/>
              <a:gd name="connsiteX11" fmla="*/ 4503 w 21677"/>
              <a:gd name="connsiteY11" fmla="*/ 22216 h 22234"/>
              <a:gd name="connsiteX12" fmla="*/ 2315 w 21677"/>
              <a:gd name="connsiteY12" fmla="*/ 21841 h 22234"/>
              <a:gd name="connsiteX13" fmla="*/ 1465 w 21677"/>
              <a:gd name="connsiteY13" fmla="*/ 21436 h 22234"/>
              <a:gd name="connsiteX14" fmla="*/ 821 w 21677"/>
              <a:gd name="connsiteY14" fmla="*/ 20406 h 22234"/>
              <a:gd name="connsiteX15" fmla="*/ 0 w 21677"/>
              <a:gd name="connsiteY15" fmla="*/ 20172 h 22234"/>
              <a:gd name="connsiteX16" fmla="*/ 0 w 21677"/>
              <a:gd name="connsiteY16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2820 w 21677"/>
              <a:gd name="connsiteY8" fmla="*/ 21342 h 22234"/>
              <a:gd name="connsiteX9" fmla="*/ 11867 w 21677"/>
              <a:gd name="connsiteY9" fmla="*/ 21904 h 22234"/>
              <a:gd name="connsiteX10" fmla="*/ 10939 w 21677"/>
              <a:gd name="connsiteY10" fmla="*/ 21810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810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904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904 h 22234"/>
              <a:gd name="connsiteX11" fmla="*/ 7181 w 21677"/>
              <a:gd name="connsiteY11" fmla="*/ 21187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8"/>
              <a:gd name="connsiteX1" fmla="*/ 21600 w 21677"/>
              <a:gd name="connsiteY1" fmla="*/ 0 h 22238"/>
              <a:gd name="connsiteX2" fmla="*/ 21677 w 21677"/>
              <a:gd name="connsiteY2" fmla="*/ 21940 h 22238"/>
              <a:gd name="connsiteX3" fmla="*/ 20165 w 21677"/>
              <a:gd name="connsiteY3" fmla="*/ 21904 h 22238"/>
              <a:gd name="connsiteX4" fmla="*/ 19025 w 21677"/>
              <a:gd name="connsiteY4" fmla="*/ 21561 h 22238"/>
              <a:gd name="connsiteX5" fmla="*/ 18012 w 21677"/>
              <a:gd name="connsiteY5" fmla="*/ 21436 h 22238"/>
              <a:gd name="connsiteX6" fmla="*/ 16321 w 21677"/>
              <a:gd name="connsiteY6" fmla="*/ 21342 h 22238"/>
              <a:gd name="connsiteX7" fmla="*/ 14527 w 21677"/>
              <a:gd name="connsiteY7" fmla="*/ 20999 h 22238"/>
              <a:gd name="connsiteX8" fmla="*/ 13000 w 21677"/>
              <a:gd name="connsiteY8" fmla="*/ 21404 h 22238"/>
              <a:gd name="connsiteX9" fmla="*/ 11867 w 21677"/>
              <a:gd name="connsiteY9" fmla="*/ 21904 h 22238"/>
              <a:gd name="connsiteX10" fmla="*/ 10939 w 21677"/>
              <a:gd name="connsiteY10" fmla="*/ 21904 h 22238"/>
              <a:gd name="connsiteX11" fmla="*/ 7181 w 21677"/>
              <a:gd name="connsiteY11" fmla="*/ 21437 h 22238"/>
              <a:gd name="connsiteX12" fmla="*/ 4503 w 21677"/>
              <a:gd name="connsiteY12" fmla="*/ 22216 h 22238"/>
              <a:gd name="connsiteX13" fmla="*/ 2315 w 21677"/>
              <a:gd name="connsiteY13" fmla="*/ 21841 h 22238"/>
              <a:gd name="connsiteX14" fmla="*/ 1465 w 21677"/>
              <a:gd name="connsiteY14" fmla="*/ 21436 h 22238"/>
              <a:gd name="connsiteX15" fmla="*/ 821 w 21677"/>
              <a:gd name="connsiteY15" fmla="*/ 20406 h 22238"/>
              <a:gd name="connsiteX16" fmla="*/ 0 w 21677"/>
              <a:gd name="connsiteY16" fmla="*/ 20172 h 22238"/>
              <a:gd name="connsiteX17" fmla="*/ 0 w 21677"/>
              <a:gd name="connsiteY17" fmla="*/ 0 h 22238"/>
              <a:gd name="connsiteX0" fmla="*/ 0 w 21677"/>
              <a:gd name="connsiteY0" fmla="*/ 0 h 22238"/>
              <a:gd name="connsiteX1" fmla="*/ 21600 w 21677"/>
              <a:gd name="connsiteY1" fmla="*/ 0 h 22238"/>
              <a:gd name="connsiteX2" fmla="*/ 21677 w 21677"/>
              <a:gd name="connsiteY2" fmla="*/ 21940 h 22238"/>
              <a:gd name="connsiteX3" fmla="*/ 20165 w 21677"/>
              <a:gd name="connsiteY3" fmla="*/ 21904 h 22238"/>
              <a:gd name="connsiteX4" fmla="*/ 19025 w 21677"/>
              <a:gd name="connsiteY4" fmla="*/ 21561 h 22238"/>
              <a:gd name="connsiteX5" fmla="*/ 18012 w 21677"/>
              <a:gd name="connsiteY5" fmla="*/ 21436 h 22238"/>
              <a:gd name="connsiteX6" fmla="*/ 16321 w 21677"/>
              <a:gd name="connsiteY6" fmla="*/ 21342 h 22238"/>
              <a:gd name="connsiteX7" fmla="*/ 14527 w 21677"/>
              <a:gd name="connsiteY7" fmla="*/ 20999 h 22238"/>
              <a:gd name="connsiteX8" fmla="*/ 13000 w 21677"/>
              <a:gd name="connsiteY8" fmla="*/ 21404 h 22238"/>
              <a:gd name="connsiteX9" fmla="*/ 11867 w 21677"/>
              <a:gd name="connsiteY9" fmla="*/ 21904 h 22238"/>
              <a:gd name="connsiteX10" fmla="*/ 10939 w 21677"/>
              <a:gd name="connsiteY10" fmla="*/ 21904 h 22238"/>
              <a:gd name="connsiteX11" fmla="*/ 7876 w 21677"/>
              <a:gd name="connsiteY11" fmla="*/ 21436 h 22238"/>
              <a:gd name="connsiteX12" fmla="*/ 7181 w 21677"/>
              <a:gd name="connsiteY12" fmla="*/ 21437 h 22238"/>
              <a:gd name="connsiteX13" fmla="*/ 4503 w 21677"/>
              <a:gd name="connsiteY13" fmla="*/ 22216 h 22238"/>
              <a:gd name="connsiteX14" fmla="*/ 2315 w 21677"/>
              <a:gd name="connsiteY14" fmla="*/ 21841 h 22238"/>
              <a:gd name="connsiteX15" fmla="*/ 1465 w 21677"/>
              <a:gd name="connsiteY15" fmla="*/ 21436 h 22238"/>
              <a:gd name="connsiteX16" fmla="*/ 821 w 21677"/>
              <a:gd name="connsiteY16" fmla="*/ 20406 h 22238"/>
              <a:gd name="connsiteX17" fmla="*/ 0 w 21677"/>
              <a:gd name="connsiteY17" fmla="*/ 20172 h 22238"/>
              <a:gd name="connsiteX18" fmla="*/ 0 w 21677"/>
              <a:gd name="connsiteY18" fmla="*/ 0 h 22238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2315 w 21677"/>
              <a:gd name="connsiteY14" fmla="*/ 21841 h 22391"/>
              <a:gd name="connsiteX15" fmla="*/ 1465 w 21677"/>
              <a:gd name="connsiteY15" fmla="*/ 21436 h 22391"/>
              <a:gd name="connsiteX16" fmla="*/ 821 w 21677"/>
              <a:gd name="connsiteY16" fmla="*/ 20406 h 22391"/>
              <a:gd name="connsiteX17" fmla="*/ 0 w 21677"/>
              <a:gd name="connsiteY17" fmla="*/ 20172 h 22391"/>
              <a:gd name="connsiteX18" fmla="*/ 0 w 21677"/>
              <a:gd name="connsiteY18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2238 w 21677"/>
              <a:gd name="connsiteY14" fmla="*/ 21997 h 22391"/>
              <a:gd name="connsiteX15" fmla="*/ 1465 w 21677"/>
              <a:gd name="connsiteY15" fmla="*/ 21436 h 22391"/>
              <a:gd name="connsiteX16" fmla="*/ 821 w 21677"/>
              <a:gd name="connsiteY16" fmla="*/ 20406 h 22391"/>
              <a:gd name="connsiteX17" fmla="*/ 0 w 21677"/>
              <a:gd name="connsiteY17" fmla="*/ 20172 h 22391"/>
              <a:gd name="connsiteX18" fmla="*/ 0 w 21677"/>
              <a:gd name="connsiteY18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3216 w 21677"/>
              <a:gd name="connsiteY14" fmla="*/ 22029 h 22391"/>
              <a:gd name="connsiteX15" fmla="*/ 2238 w 21677"/>
              <a:gd name="connsiteY15" fmla="*/ 21997 h 22391"/>
              <a:gd name="connsiteX16" fmla="*/ 1465 w 21677"/>
              <a:gd name="connsiteY16" fmla="*/ 21436 h 22391"/>
              <a:gd name="connsiteX17" fmla="*/ 821 w 21677"/>
              <a:gd name="connsiteY17" fmla="*/ 20406 h 22391"/>
              <a:gd name="connsiteX18" fmla="*/ 0 w 21677"/>
              <a:gd name="connsiteY18" fmla="*/ 20172 h 22391"/>
              <a:gd name="connsiteX19" fmla="*/ 0 w 21677"/>
              <a:gd name="connsiteY19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206 w 21677"/>
              <a:gd name="connsiteY8" fmla="*/ 21279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295 w 21677"/>
              <a:gd name="connsiteY6" fmla="*/ 21311 h 22391"/>
              <a:gd name="connsiteX7" fmla="*/ 14527 w 21677"/>
              <a:gd name="connsiteY7" fmla="*/ 20999 h 22391"/>
              <a:gd name="connsiteX8" fmla="*/ 13206 w 21677"/>
              <a:gd name="connsiteY8" fmla="*/ 21279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821 w 21703"/>
              <a:gd name="connsiteY18" fmla="*/ 20406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821 w 21703"/>
              <a:gd name="connsiteY18" fmla="*/ 20406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770 w 21703"/>
              <a:gd name="connsiteY18" fmla="*/ 20531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734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770 w 21703"/>
              <a:gd name="connsiteY18" fmla="*/ 20531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3402"/>
              <a:gd name="connsiteX1" fmla="*/ 21600 w 21703"/>
              <a:gd name="connsiteY1" fmla="*/ 0 h 23402"/>
              <a:gd name="connsiteX2" fmla="*/ 21703 w 21703"/>
              <a:gd name="connsiteY2" fmla="*/ 21734 h 23402"/>
              <a:gd name="connsiteX3" fmla="*/ 21074 w 21703"/>
              <a:gd name="connsiteY3" fmla="*/ 21946 h 23402"/>
              <a:gd name="connsiteX4" fmla="*/ 20165 w 21703"/>
              <a:gd name="connsiteY4" fmla="*/ 21904 h 23402"/>
              <a:gd name="connsiteX5" fmla="*/ 19025 w 21703"/>
              <a:gd name="connsiteY5" fmla="*/ 21561 h 23402"/>
              <a:gd name="connsiteX6" fmla="*/ 18012 w 21703"/>
              <a:gd name="connsiteY6" fmla="*/ 21436 h 23402"/>
              <a:gd name="connsiteX7" fmla="*/ 16295 w 21703"/>
              <a:gd name="connsiteY7" fmla="*/ 21311 h 23402"/>
              <a:gd name="connsiteX8" fmla="*/ 14527 w 21703"/>
              <a:gd name="connsiteY8" fmla="*/ 20999 h 23402"/>
              <a:gd name="connsiteX9" fmla="*/ 13206 w 21703"/>
              <a:gd name="connsiteY9" fmla="*/ 21279 h 23402"/>
              <a:gd name="connsiteX10" fmla="*/ 11867 w 21703"/>
              <a:gd name="connsiteY10" fmla="*/ 21904 h 23402"/>
              <a:gd name="connsiteX11" fmla="*/ 10836 w 21703"/>
              <a:gd name="connsiteY11" fmla="*/ 22060 h 23402"/>
              <a:gd name="connsiteX12" fmla="*/ 9472 w 21703"/>
              <a:gd name="connsiteY12" fmla="*/ 21779 h 23402"/>
              <a:gd name="connsiteX13" fmla="*/ 7876 w 21703"/>
              <a:gd name="connsiteY13" fmla="*/ 21436 h 23402"/>
              <a:gd name="connsiteX14" fmla="*/ 7181 w 21703"/>
              <a:gd name="connsiteY14" fmla="*/ 21437 h 23402"/>
              <a:gd name="connsiteX15" fmla="*/ 4452 w 21703"/>
              <a:gd name="connsiteY15" fmla="*/ 22372 h 23402"/>
              <a:gd name="connsiteX16" fmla="*/ 3216 w 21703"/>
              <a:gd name="connsiteY16" fmla="*/ 22029 h 23402"/>
              <a:gd name="connsiteX17" fmla="*/ 2238 w 21703"/>
              <a:gd name="connsiteY17" fmla="*/ 21997 h 23402"/>
              <a:gd name="connsiteX18" fmla="*/ 1465 w 21703"/>
              <a:gd name="connsiteY18" fmla="*/ 21436 h 23402"/>
              <a:gd name="connsiteX19" fmla="*/ 770 w 21703"/>
              <a:gd name="connsiteY19" fmla="*/ 20531 h 23402"/>
              <a:gd name="connsiteX20" fmla="*/ 0 w 21703"/>
              <a:gd name="connsiteY20" fmla="*/ 20172 h 23402"/>
              <a:gd name="connsiteX21" fmla="*/ 0 w 21703"/>
              <a:gd name="connsiteY21" fmla="*/ 0 h 23402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734 h 22391"/>
              <a:gd name="connsiteX3" fmla="*/ 21074 w 21703"/>
              <a:gd name="connsiteY3" fmla="*/ 21946 h 22391"/>
              <a:gd name="connsiteX4" fmla="*/ 20165 w 21703"/>
              <a:gd name="connsiteY4" fmla="*/ 21904 h 22391"/>
              <a:gd name="connsiteX5" fmla="*/ 19025 w 21703"/>
              <a:gd name="connsiteY5" fmla="*/ 21561 h 22391"/>
              <a:gd name="connsiteX6" fmla="*/ 18012 w 21703"/>
              <a:gd name="connsiteY6" fmla="*/ 21436 h 22391"/>
              <a:gd name="connsiteX7" fmla="*/ 16295 w 21703"/>
              <a:gd name="connsiteY7" fmla="*/ 21311 h 22391"/>
              <a:gd name="connsiteX8" fmla="*/ 14527 w 21703"/>
              <a:gd name="connsiteY8" fmla="*/ 20999 h 22391"/>
              <a:gd name="connsiteX9" fmla="*/ 13206 w 21703"/>
              <a:gd name="connsiteY9" fmla="*/ 21279 h 22391"/>
              <a:gd name="connsiteX10" fmla="*/ 11867 w 21703"/>
              <a:gd name="connsiteY10" fmla="*/ 21904 h 22391"/>
              <a:gd name="connsiteX11" fmla="*/ 10836 w 21703"/>
              <a:gd name="connsiteY11" fmla="*/ 22060 h 22391"/>
              <a:gd name="connsiteX12" fmla="*/ 9472 w 21703"/>
              <a:gd name="connsiteY12" fmla="*/ 21779 h 22391"/>
              <a:gd name="connsiteX13" fmla="*/ 7876 w 21703"/>
              <a:gd name="connsiteY13" fmla="*/ 21436 h 22391"/>
              <a:gd name="connsiteX14" fmla="*/ 7181 w 21703"/>
              <a:gd name="connsiteY14" fmla="*/ 21437 h 22391"/>
              <a:gd name="connsiteX15" fmla="*/ 4452 w 21703"/>
              <a:gd name="connsiteY15" fmla="*/ 22372 h 22391"/>
              <a:gd name="connsiteX16" fmla="*/ 3216 w 21703"/>
              <a:gd name="connsiteY16" fmla="*/ 22029 h 22391"/>
              <a:gd name="connsiteX17" fmla="*/ 2238 w 21703"/>
              <a:gd name="connsiteY17" fmla="*/ 21997 h 22391"/>
              <a:gd name="connsiteX18" fmla="*/ 1465 w 21703"/>
              <a:gd name="connsiteY18" fmla="*/ 21436 h 22391"/>
              <a:gd name="connsiteX19" fmla="*/ 770 w 21703"/>
              <a:gd name="connsiteY19" fmla="*/ 20531 h 22391"/>
              <a:gd name="connsiteX20" fmla="*/ 0 w 21703"/>
              <a:gd name="connsiteY20" fmla="*/ 20172 h 22391"/>
              <a:gd name="connsiteX21" fmla="*/ 0 w 21703"/>
              <a:gd name="connsiteY21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57 h 22391"/>
              <a:gd name="connsiteX3" fmla="*/ 21074 w 21703"/>
              <a:gd name="connsiteY3" fmla="*/ 21946 h 22391"/>
              <a:gd name="connsiteX4" fmla="*/ 20165 w 21703"/>
              <a:gd name="connsiteY4" fmla="*/ 21904 h 22391"/>
              <a:gd name="connsiteX5" fmla="*/ 19025 w 21703"/>
              <a:gd name="connsiteY5" fmla="*/ 21561 h 22391"/>
              <a:gd name="connsiteX6" fmla="*/ 18012 w 21703"/>
              <a:gd name="connsiteY6" fmla="*/ 21436 h 22391"/>
              <a:gd name="connsiteX7" fmla="*/ 16295 w 21703"/>
              <a:gd name="connsiteY7" fmla="*/ 21311 h 22391"/>
              <a:gd name="connsiteX8" fmla="*/ 14527 w 21703"/>
              <a:gd name="connsiteY8" fmla="*/ 20999 h 22391"/>
              <a:gd name="connsiteX9" fmla="*/ 13206 w 21703"/>
              <a:gd name="connsiteY9" fmla="*/ 21279 h 22391"/>
              <a:gd name="connsiteX10" fmla="*/ 11867 w 21703"/>
              <a:gd name="connsiteY10" fmla="*/ 21904 h 22391"/>
              <a:gd name="connsiteX11" fmla="*/ 10836 w 21703"/>
              <a:gd name="connsiteY11" fmla="*/ 22060 h 22391"/>
              <a:gd name="connsiteX12" fmla="*/ 9472 w 21703"/>
              <a:gd name="connsiteY12" fmla="*/ 21779 h 22391"/>
              <a:gd name="connsiteX13" fmla="*/ 7876 w 21703"/>
              <a:gd name="connsiteY13" fmla="*/ 21436 h 22391"/>
              <a:gd name="connsiteX14" fmla="*/ 7181 w 21703"/>
              <a:gd name="connsiteY14" fmla="*/ 21437 h 22391"/>
              <a:gd name="connsiteX15" fmla="*/ 4452 w 21703"/>
              <a:gd name="connsiteY15" fmla="*/ 22372 h 22391"/>
              <a:gd name="connsiteX16" fmla="*/ 3216 w 21703"/>
              <a:gd name="connsiteY16" fmla="*/ 22029 h 22391"/>
              <a:gd name="connsiteX17" fmla="*/ 2238 w 21703"/>
              <a:gd name="connsiteY17" fmla="*/ 21997 h 22391"/>
              <a:gd name="connsiteX18" fmla="*/ 1465 w 21703"/>
              <a:gd name="connsiteY18" fmla="*/ 21436 h 22391"/>
              <a:gd name="connsiteX19" fmla="*/ 770 w 21703"/>
              <a:gd name="connsiteY19" fmla="*/ 20531 h 22391"/>
              <a:gd name="connsiteX20" fmla="*/ 0 w 21703"/>
              <a:gd name="connsiteY20" fmla="*/ 20172 h 22391"/>
              <a:gd name="connsiteX21" fmla="*/ 0 w 21703"/>
              <a:gd name="connsiteY21" fmla="*/ 0 h 22391"/>
              <a:gd name="connsiteX0" fmla="*/ 0 w 21703"/>
              <a:gd name="connsiteY0" fmla="*/ 62 h 22453"/>
              <a:gd name="connsiteX1" fmla="*/ 21677 w 21703"/>
              <a:gd name="connsiteY1" fmla="*/ 0 h 22453"/>
              <a:gd name="connsiteX2" fmla="*/ 21703 w 21703"/>
              <a:gd name="connsiteY2" fmla="*/ 21919 h 22453"/>
              <a:gd name="connsiteX3" fmla="*/ 21074 w 21703"/>
              <a:gd name="connsiteY3" fmla="*/ 22008 h 22453"/>
              <a:gd name="connsiteX4" fmla="*/ 20165 w 21703"/>
              <a:gd name="connsiteY4" fmla="*/ 21966 h 22453"/>
              <a:gd name="connsiteX5" fmla="*/ 19025 w 21703"/>
              <a:gd name="connsiteY5" fmla="*/ 21623 h 22453"/>
              <a:gd name="connsiteX6" fmla="*/ 18012 w 21703"/>
              <a:gd name="connsiteY6" fmla="*/ 21498 h 22453"/>
              <a:gd name="connsiteX7" fmla="*/ 16295 w 21703"/>
              <a:gd name="connsiteY7" fmla="*/ 21373 h 22453"/>
              <a:gd name="connsiteX8" fmla="*/ 14527 w 21703"/>
              <a:gd name="connsiteY8" fmla="*/ 21061 h 22453"/>
              <a:gd name="connsiteX9" fmla="*/ 13206 w 21703"/>
              <a:gd name="connsiteY9" fmla="*/ 21341 h 22453"/>
              <a:gd name="connsiteX10" fmla="*/ 11867 w 21703"/>
              <a:gd name="connsiteY10" fmla="*/ 21966 h 22453"/>
              <a:gd name="connsiteX11" fmla="*/ 10836 w 21703"/>
              <a:gd name="connsiteY11" fmla="*/ 22122 h 22453"/>
              <a:gd name="connsiteX12" fmla="*/ 9472 w 21703"/>
              <a:gd name="connsiteY12" fmla="*/ 21841 h 22453"/>
              <a:gd name="connsiteX13" fmla="*/ 7876 w 21703"/>
              <a:gd name="connsiteY13" fmla="*/ 21498 h 22453"/>
              <a:gd name="connsiteX14" fmla="*/ 7181 w 21703"/>
              <a:gd name="connsiteY14" fmla="*/ 21499 h 22453"/>
              <a:gd name="connsiteX15" fmla="*/ 4452 w 21703"/>
              <a:gd name="connsiteY15" fmla="*/ 22434 h 22453"/>
              <a:gd name="connsiteX16" fmla="*/ 3216 w 21703"/>
              <a:gd name="connsiteY16" fmla="*/ 22091 h 22453"/>
              <a:gd name="connsiteX17" fmla="*/ 2238 w 21703"/>
              <a:gd name="connsiteY17" fmla="*/ 22059 h 22453"/>
              <a:gd name="connsiteX18" fmla="*/ 1465 w 21703"/>
              <a:gd name="connsiteY18" fmla="*/ 21498 h 22453"/>
              <a:gd name="connsiteX19" fmla="*/ 770 w 21703"/>
              <a:gd name="connsiteY19" fmla="*/ 20593 h 22453"/>
              <a:gd name="connsiteX20" fmla="*/ 0 w 21703"/>
              <a:gd name="connsiteY20" fmla="*/ 20234 h 22453"/>
              <a:gd name="connsiteX21" fmla="*/ 0 w 21703"/>
              <a:gd name="connsiteY21" fmla="*/ 62 h 22453"/>
              <a:gd name="connsiteX0" fmla="*/ 0 w 21703"/>
              <a:gd name="connsiteY0" fmla="*/ 62 h 22453"/>
              <a:gd name="connsiteX1" fmla="*/ 21677 w 21703"/>
              <a:gd name="connsiteY1" fmla="*/ 0 h 22453"/>
              <a:gd name="connsiteX2" fmla="*/ 21703 w 21703"/>
              <a:gd name="connsiteY2" fmla="*/ 21888 h 22453"/>
              <a:gd name="connsiteX3" fmla="*/ 21074 w 21703"/>
              <a:gd name="connsiteY3" fmla="*/ 22008 h 22453"/>
              <a:gd name="connsiteX4" fmla="*/ 20165 w 21703"/>
              <a:gd name="connsiteY4" fmla="*/ 21966 h 22453"/>
              <a:gd name="connsiteX5" fmla="*/ 19025 w 21703"/>
              <a:gd name="connsiteY5" fmla="*/ 21623 h 22453"/>
              <a:gd name="connsiteX6" fmla="*/ 18012 w 21703"/>
              <a:gd name="connsiteY6" fmla="*/ 21498 h 22453"/>
              <a:gd name="connsiteX7" fmla="*/ 16295 w 21703"/>
              <a:gd name="connsiteY7" fmla="*/ 21373 h 22453"/>
              <a:gd name="connsiteX8" fmla="*/ 14527 w 21703"/>
              <a:gd name="connsiteY8" fmla="*/ 21061 h 22453"/>
              <a:gd name="connsiteX9" fmla="*/ 13206 w 21703"/>
              <a:gd name="connsiteY9" fmla="*/ 21341 h 22453"/>
              <a:gd name="connsiteX10" fmla="*/ 11867 w 21703"/>
              <a:gd name="connsiteY10" fmla="*/ 21966 h 22453"/>
              <a:gd name="connsiteX11" fmla="*/ 10836 w 21703"/>
              <a:gd name="connsiteY11" fmla="*/ 22122 h 22453"/>
              <a:gd name="connsiteX12" fmla="*/ 9472 w 21703"/>
              <a:gd name="connsiteY12" fmla="*/ 21841 h 22453"/>
              <a:gd name="connsiteX13" fmla="*/ 7876 w 21703"/>
              <a:gd name="connsiteY13" fmla="*/ 21498 h 22453"/>
              <a:gd name="connsiteX14" fmla="*/ 7181 w 21703"/>
              <a:gd name="connsiteY14" fmla="*/ 21499 h 22453"/>
              <a:gd name="connsiteX15" fmla="*/ 4452 w 21703"/>
              <a:gd name="connsiteY15" fmla="*/ 22434 h 22453"/>
              <a:gd name="connsiteX16" fmla="*/ 3216 w 21703"/>
              <a:gd name="connsiteY16" fmla="*/ 22091 h 22453"/>
              <a:gd name="connsiteX17" fmla="*/ 2238 w 21703"/>
              <a:gd name="connsiteY17" fmla="*/ 22059 h 22453"/>
              <a:gd name="connsiteX18" fmla="*/ 1465 w 21703"/>
              <a:gd name="connsiteY18" fmla="*/ 21498 h 22453"/>
              <a:gd name="connsiteX19" fmla="*/ 770 w 21703"/>
              <a:gd name="connsiteY19" fmla="*/ 20593 h 22453"/>
              <a:gd name="connsiteX20" fmla="*/ 0 w 21703"/>
              <a:gd name="connsiteY20" fmla="*/ 20234 h 22453"/>
              <a:gd name="connsiteX21" fmla="*/ 0 w 21703"/>
              <a:gd name="connsiteY21" fmla="*/ 62 h 22453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72 w 21703"/>
              <a:gd name="connsiteY12" fmla="*/ 21841 h 22452"/>
              <a:gd name="connsiteX13" fmla="*/ 7876 w 21703"/>
              <a:gd name="connsiteY13" fmla="*/ 21498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72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31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638 w 21703"/>
              <a:gd name="connsiteY19" fmla="*/ 20433 h 22452"/>
              <a:gd name="connsiteX20" fmla="*/ 0 w 21703"/>
              <a:gd name="connsiteY20" fmla="*/ 20314 h 22452"/>
              <a:gd name="connsiteX21" fmla="*/ 0 w 21703"/>
              <a:gd name="connsiteY21" fmla="*/ 62 h 22452"/>
              <a:gd name="connsiteX0" fmla="*/ 0 w 21703"/>
              <a:gd name="connsiteY0" fmla="*/ 62 h 22348"/>
              <a:gd name="connsiteX1" fmla="*/ 21677 w 21703"/>
              <a:gd name="connsiteY1" fmla="*/ 0 h 22348"/>
              <a:gd name="connsiteX2" fmla="*/ 21703 w 21703"/>
              <a:gd name="connsiteY2" fmla="*/ 21755 h 22348"/>
              <a:gd name="connsiteX3" fmla="*/ 21074 w 21703"/>
              <a:gd name="connsiteY3" fmla="*/ 22008 h 22348"/>
              <a:gd name="connsiteX4" fmla="*/ 20165 w 21703"/>
              <a:gd name="connsiteY4" fmla="*/ 21966 h 22348"/>
              <a:gd name="connsiteX5" fmla="*/ 19025 w 21703"/>
              <a:gd name="connsiteY5" fmla="*/ 21676 h 22348"/>
              <a:gd name="connsiteX6" fmla="*/ 18012 w 21703"/>
              <a:gd name="connsiteY6" fmla="*/ 21498 h 22348"/>
              <a:gd name="connsiteX7" fmla="*/ 16295 w 21703"/>
              <a:gd name="connsiteY7" fmla="*/ 21373 h 22348"/>
              <a:gd name="connsiteX8" fmla="*/ 14527 w 21703"/>
              <a:gd name="connsiteY8" fmla="*/ 21061 h 22348"/>
              <a:gd name="connsiteX9" fmla="*/ 13206 w 21703"/>
              <a:gd name="connsiteY9" fmla="*/ 21341 h 22348"/>
              <a:gd name="connsiteX10" fmla="*/ 11867 w 21703"/>
              <a:gd name="connsiteY10" fmla="*/ 21913 h 22348"/>
              <a:gd name="connsiteX11" fmla="*/ 10836 w 21703"/>
              <a:gd name="connsiteY11" fmla="*/ 22042 h 22348"/>
              <a:gd name="connsiteX12" fmla="*/ 9494 w 21703"/>
              <a:gd name="connsiteY12" fmla="*/ 21841 h 22348"/>
              <a:gd name="connsiteX13" fmla="*/ 8314 w 21703"/>
              <a:gd name="connsiteY13" fmla="*/ 21525 h 22348"/>
              <a:gd name="connsiteX14" fmla="*/ 7181 w 21703"/>
              <a:gd name="connsiteY14" fmla="*/ 21446 h 22348"/>
              <a:gd name="connsiteX15" fmla="*/ 4627 w 21703"/>
              <a:gd name="connsiteY15" fmla="*/ 22328 h 22348"/>
              <a:gd name="connsiteX16" fmla="*/ 3216 w 21703"/>
              <a:gd name="connsiteY16" fmla="*/ 22091 h 22348"/>
              <a:gd name="connsiteX17" fmla="*/ 2238 w 21703"/>
              <a:gd name="connsiteY17" fmla="*/ 22059 h 22348"/>
              <a:gd name="connsiteX18" fmla="*/ 1465 w 21703"/>
              <a:gd name="connsiteY18" fmla="*/ 21498 h 22348"/>
              <a:gd name="connsiteX19" fmla="*/ 638 w 21703"/>
              <a:gd name="connsiteY19" fmla="*/ 20433 h 22348"/>
              <a:gd name="connsiteX20" fmla="*/ 0 w 21703"/>
              <a:gd name="connsiteY20" fmla="*/ 20314 h 22348"/>
              <a:gd name="connsiteX21" fmla="*/ 0 w 21703"/>
              <a:gd name="connsiteY21" fmla="*/ 62 h 22348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836 w 21703"/>
              <a:gd name="connsiteY11" fmla="*/ 22042 h 22427"/>
              <a:gd name="connsiteX12" fmla="*/ 9494 w 21703"/>
              <a:gd name="connsiteY12" fmla="*/ 21841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836 w 21703"/>
              <a:gd name="connsiteY11" fmla="*/ 22042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893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4527 w 21736"/>
              <a:gd name="connsiteY8" fmla="*/ 21061 h 22427"/>
              <a:gd name="connsiteX9" fmla="*/ 13403 w 21736"/>
              <a:gd name="connsiteY9" fmla="*/ 21208 h 22427"/>
              <a:gd name="connsiteX10" fmla="*/ 11867 w 21736"/>
              <a:gd name="connsiteY10" fmla="*/ 21913 h 22427"/>
              <a:gd name="connsiteX11" fmla="*/ 10770 w 21736"/>
              <a:gd name="connsiteY11" fmla="*/ 22015 h 22427"/>
              <a:gd name="connsiteX12" fmla="*/ 9516 w 21736"/>
              <a:gd name="connsiteY12" fmla="*/ 21788 h 22427"/>
              <a:gd name="connsiteX13" fmla="*/ 8314 w 21736"/>
              <a:gd name="connsiteY13" fmla="*/ 21525 h 22427"/>
              <a:gd name="connsiteX14" fmla="*/ 7181 w 21736"/>
              <a:gd name="connsiteY14" fmla="*/ 21446 h 22427"/>
              <a:gd name="connsiteX15" fmla="*/ 4430 w 21736"/>
              <a:gd name="connsiteY15" fmla="*/ 22408 h 22427"/>
              <a:gd name="connsiteX16" fmla="*/ 3216 w 21736"/>
              <a:gd name="connsiteY16" fmla="*/ 22091 h 22427"/>
              <a:gd name="connsiteX17" fmla="*/ 2238 w 21736"/>
              <a:gd name="connsiteY17" fmla="*/ 22059 h 22427"/>
              <a:gd name="connsiteX18" fmla="*/ 1465 w 21736"/>
              <a:gd name="connsiteY18" fmla="*/ 21498 h 22427"/>
              <a:gd name="connsiteX19" fmla="*/ 638 w 21736"/>
              <a:gd name="connsiteY19" fmla="*/ 20433 h 22427"/>
              <a:gd name="connsiteX20" fmla="*/ 0 w 21736"/>
              <a:gd name="connsiteY20" fmla="*/ 20314 h 22427"/>
              <a:gd name="connsiteX21" fmla="*/ 0 w 21736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4527 w 21736"/>
              <a:gd name="connsiteY8" fmla="*/ 21061 h 22427"/>
              <a:gd name="connsiteX9" fmla="*/ 13403 w 21736"/>
              <a:gd name="connsiteY9" fmla="*/ 21208 h 22427"/>
              <a:gd name="connsiteX10" fmla="*/ 11867 w 21736"/>
              <a:gd name="connsiteY10" fmla="*/ 21913 h 22427"/>
              <a:gd name="connsiteX11" fmla="*/ 10770 w 21736"/>
              <a:gd name="connsiteY11" fmla="*/ 22015 h 22427"/>
              <a:gd name="connsiteX12" fmla="*/ 9516 w 21736"/>
              <a:gd name="connsiteY12" fmla="*/ 21788 h 22427"/>
              <a:gd name="connsiteX13" fmla="*/ 8314 w 21736"/>
              <a:gd name="connsiteY13" fmla="*/ 21525 h 22427"/>
              <a:gd name="connsiteX14" fmla="*/ 7181 w 21736"/>
              <a:gd name="connsiteY14" fmla="*/ 21446 h 22427"/>
              <a:gd name="connsiteX15" fmla="*/ 4430 w 21736"/>
              <a:gd name="connsiteY15" fmla="*/ 22408 h 22427"/>
              <a:gd name="connsiteX16" fmla="*/ 3216 w 21736"/>
              <a:gd name="connsiteY16" fmla="*/ 22091 h 22427"/>
              <a:gd name="connsiteX17" fmla="*/ 2238 w 21736"/>
              <a:gd name="connsiteY17" fmla="*/ 22059 h 22427"/>
              <a:gd name="connsiteX18" fmla="*/ 1465 w 21736"/>
              <a:gd name="connsiteY18" fmla="*/ 21498 h 22427"/>
              <a:gd name="connsiteX19" fmla="*/ 638 w 21736"/>
              <a:gd name="connsiteY19" fmla="*/ 20433 h 22427"/>
              <a:gd name="connsiteX20" fmla="*/ 0 w 21736"/>
              <a:gd name="connsiteY20" fmla="*/ 20314 h 22427"/>
              <a:gd name="connsiteX21" fmla="*/ 0 w 21736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67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271 w 21736"/>
              <a:gd name="connsiteY12" fmla="*/ 22010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88 h 22427"/>
              <a:gd name="connsiteX24" fmla="*/ 0 w 21736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826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769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834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1751" h="22427">
                <a:moveTo>
                  <a:pt x="0" y="62"/>
                </a:moveTo>
                <a:lnTo>
                  <a:pt x="21747" y="0"/>
                </a:lnTo>
                <a:cubicBezTo>
                  <a:pt x="21767" y="7275"/>
                  <a:pt x="21716" y="14559"/>
                  <a:pt x="21736" y="21834"/>
                </a:cubicBezTo>
                <a:lnTo>
                  <a:pt x="21074" y="22008"/>
                </a:lnTo>
                <a:cubicBezTo>
                  <a:pt x="20818" y="22036"/>
                  <a:pt x="20495" y="22013"/>
                  <a:pt x="20165" y="21966"/>
                </a:cubicBezTo>
                <a:cubicBezTo>
                  <a:pt x="19785" y="21893"/>
                  <a:pt x="19405" y="21749"/>
                  <a:pt x="19025" y="21676"/>
                </a:cubicBezTo>
                <a:lnTo>
                  <a:pt x="17880" y="21472"/>
                </a:lnTo>
                <a:cubicBezTo>
                  <a:pt x="17198" y="21448"/>
                  <a:pt x="17109" y="21477"/>
                  <a:pt x="16197" y="21294"/>
                </a:cubicBezTo>
                <a:cubicBezTo>
                  <a:pt x="15771" y="21238"/>
                  <a:pt x="15720" y="21175"/>
                  <a:pt x="15455" y="21132"/>
                </a:cubicBezTo>
                <a:cubicBezTo>
                  <a:pt x="15190" y="21089"/>
                  <a:pt x="14869" y="21057"/>
                  <a:pt x="14527" y="21061"/>
                </a:cubicBezTo>
                <a:cubicBezTo>
                  <a:pt x="13662" y="21087"/>
                  <a:pt x="14001" y="21073"/>
                  <a:pt x="13403" y="21208"/>
                </a:cubicBezTo>
                <a:cubicBezTo>
                  <a:pt x="13068" y="21281"/>
                  <a:pt x="12400" y="21760"/>
                  <a:pt x="12065" y="21833"/>
                </a:cubicBezTo>
                <a:cubicBezTo>
                  <a:pt x="11721" y="21965"/>
                  <a:pt x="11454" y="21993"/>
                  <a:pt x="11271" y="22010"/>
                </a:cubicBezTo>
                <a:cubicBezTo>
                  <a:pt x="11088" y="22027"/>
                  <a:pt x="11018" y="21997"/>
                  <a:pt x="10715" y="21962"/>
                </a:cubicBezTo>
                <a:cubicBezTo>
                  <a:pt x="10316" y="21936"/>
                  <a:pt x="10027" y="21866"/>
                  <a:pt x="9516" y="21788"/>
                </a:cubicBezTo>
                <a:cubicBezTo>
                  <a:pt x="9006" y="21710"/>
                  <a:pt x="8696" y="21577"/>
                  <a:pt x="8314" y="21525"/>
                </a:cubicBezTo>
                <a:cubicBezTo>
                  <a:pt x="7932" y="21473"/>
                  <a:pt x="7747" y="21337"/>
                  <a:pt x="7181" y="21446"/>
                </a:cubicBezTo>
                <a:cubicBezTo>
                  <a:pt x="6108" y="21446"/>
                  <a:pt x="5648" y="22587"/>
                  <a:pt x="4430" y="22408"/>
                </a:cubicBezTo>
                <a:lnTo>
                  <a:pt x="3458" y="22131"/>
                </a:lnTo>
                <a:lnTo>
                  <a:pt x="2194" y="21979"/>
                </a:lnTo>
                <a:cubicBezTo>
                  <a:pt x="1709" y="21802"/>
                  <a:pt x="1714" y="21737"/>
                  <a:pt x="1465" y="21498"/>
                </a:cubicBezTo>
                <a:cubicBezTo>
                  <a:pt x="1216" y="21259"/>
                  <a:pt x="1068" y="20835"/>
                  <a:pt x="880" y="20646"/>
                </a:cubicBezTo>
                <a:cubicBezTo>
                  <a:pt x="693" y="20452"/>
                  <a:pt x="493" y="20401"/>
                  <a:pt x="346" y="20334"/>
                </a:cubicBezTo>
                <a:lnTo>
                  <a:pt x="0" y="20288"/>
                </a:lnTo>
                <a:lnTo>
                  <a:pt x="0" y="62"/>
                </a:lnTo>
                <a:close/>
              </a:path>
            </a:pathLst>
          </a:custGeo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3" name="Pladsholder til tekst 9">
            <a:extLst>
              <a:ext uri="{FF2B5EF4-FFF2-40B4-BE49-F238E27FC236}">
                <a16:creationId xmlns:a16="http://schemas.microsoft.com/office/drawing/2014/main" id="{1E7F6D1B-2ABC-404B-BFB9-1BEFD3C47F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200" y="6120000"/>
            <a:ext cx="4934320" cy="325188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A827F49-2543-4B47-9154-FBD937A47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1391" y="1264024"/>
            <a:ext cx="4494129" cy="599294"/>
          </a:xfrm>
        </p:spPr>
        <p:txBody>
          <a:bodyPr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FA533A8C-0106-46EA-8AAF-56869AE65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391" y="1990165"/>
            <a:ext cx="4494130" cy="3917576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288784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6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47B1CAA2-16DD-465F-A582-F211F63FBB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Pladsholder til billede 10">
            <a:extLst>
              <a:ext uri="{FF2B5EF4-FFF2-40B4-BE49-F238E27FC236}">
                <a16:creationId xmlns:a16="http://schemas.microsoft.com/office/drawing/2014/main" id="{8A7EE368-4678-41B7-A5F2-DA495F0207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61478" y="237600"/>
            <a:ext cx="5573043" cy="4795909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77"/>
              <a:gd name="connsiteY0" fmla="*/ 0 h 22463"/>
              <a:gd name="connsiteX1" fmla="*/ 21600 w 21677"/>
              <a:gd name="connsiteY1" fmla="*/ 0 h 22463"/>
              <a:gd name="connsiteX2" fmla="*/ 21677 w 21677"/>
              <a:gd name="connsiteY2" fmla="*/ 21940 h 22463"/>
              <a:gd name="connsiteX3" fmla="*/ 0 w 21677"/>
              <a:gd name="connsiteY3" fmla="*/ 20172 h 22463"/>
              <a:gd name="connsiteX4" fmla="*/ 0 w 21677"/>
              <a:gd name="connsiteY4" fmla="*/ 0 h 22463"/>
              <a:gd name="connsiteX0" fmla="*/ 0 w 21677"/>
              <a:gd name="connsiteY0" fmla="*/ 0 h 23519"/>
              <a:gd name="connsiteX1" fmla="*/ 21600 w 21677"/>
              <a:gd name="connsiteY1" fmla="*/ 0 h 23519"/>
              <a:gd name="connsiteX2" fmla="*/ 21677 w 21677"/>
              <a:gd name="connsiteY2" fmla="*/ 21940 h 23519"/>
              <a:gd name="connsiteX3" fmla="*/ 18217 w 21677"/>
              <a:gd name="connsiteY3" fmla="*/ 21498 h 23519"/>
              <a:gd name="connsiteX4" fmla="*/ 0 w 21677"/>
              <a:gd name="connsiteY4" fmla="*/ 20172 h 23519"/>
              <a:gd name="connsiteX5" fmla="*/ 0 w 21677"/>
              <a:gd name="connsiteY5" fmla="*/ 0 h 23519"/>
              <a:gd name="connsiteX0" fmla="*/ 0 w 21677"/>
              <a:gd name="connsiteY0" fmla="*/ 0 h 22138"/>
              <a:gd name="connsiteX1" fmla="*/ 21600 w 21677"/>
              <a:gd name="connsiteY1" fmla="*/ 0 h 22138"/>
              <a:gd name="connsiteX2" fmla="*/ 21677 w 21677"/>
              <a:gd name="connsiteY2" fmla="*/ 21940 h 22138"/>
              <a:gd name="connsiteX3" fmla="*/ 18217 w 21677"/>
              <a:gd name="connsiteY3" fmla="*/ 21498 h 22138"/>
              <a:gd name="connsiteX4" fmla="*/ 0 w 21677"/>
              <a:gd name="connsiteY4" fmla="*/ 20172 h 22138"/>
              <a:gd name="connsiteX5" fmla="*/ 0 w 21677"/>
              <a:gd name="connsiteY5" fmla="*/ 0 h 22138"/>
              <a:gd name="connsiteX0" fmla="*/ 0 w 21677"/>
              <a:gd name="connsiteY0" fmla="*/ 0 h 22138"/>
              <a:gd name="connsiteX1" fmla="*/ 21600 w 21677"/>
              <a:gd name="connsiteY1" fmla="*/ 0 h 22138"/>
              <a:gd name="connsiteX2" fmla="*/ 21677 w 21677"/>
              <a:gd name="connsiteY2" fmla="*/ 21940 h 22138"/>
              <a:gd name="connsiteX3" fmla="*/ 20165 w 21677"/>
              <a:gd name="connsiteY3" fmla="*/ 21904 h 22138"/>
              <a:gd name="connsiteX4" fmla="*/ 18217 w 21677"/>
              <a:gd name="connsiteY4" fmla="*/ 21498 h 22138"/>
              <a:gd name="connsiteX5" fmla="*/ 0 w 21677"/>
              <a:gd name="connsiteY5" fmla="*/ 20172 h 22138"/>
              <a:gd name="connsiteX6" fmla="*/ 0 w 21677"/>
              <a:gd name="connsiteY6" fmla="*/ 0 h 22138"/>
              <a:gd name="connsiteX0" fmla="*/ 0 w 21677"/>
              <a:gd name="connsiteY0" fmla="*/ 0 h 22115"/>
              <a:gd name="connsiteX1" fmla="*/ 21600 w 21677"/>
              <a:gd name="connsiteY1" fmla="*/ 0 h 22115"/>
              <a:gd name="connsiteX2" fmla="*/ 21677 w 21677"/>
              <a:gd name="connsiteY2" fmla="*/ 21940 h 22115"/>
              <a:gd name="connsiteX3" fmla="*/ 20165 w 21677"/>
              <a:gd name="connsiteY3" fmla="*/ 21904 h 22115"/>
              <a:gd name="connsiteX4" fmla="*/ 18012 w 21677"/>
              <a:gd name="connsiteY4" fmla="*/ 21436 h 22115"/>
              <a:gd name="connsiteX5" fmla="*/ 0 w 21677"/>
              <a:gd name="connsiteY5" fmla="*/ 20172 h 22115"/>
              <a:gd name="connsiteX6" fmla="*/ 0 w 21677"/>
              <a:gd name="connsiteY6" fmla="*/ 0 h 22115"/>
              <a:gd name="connsiteX0" fmla="*/ 0 w 21677"/>
              <a:gd name="connsiteY0" fmla="*/ 0 h 21957"/>
              <a:gd name="connsiteX1" fmla="*/ 21600 w 21677"/>
              <a:gd name="connsiteY1" fmla="*/ 0 h 21957"/>
              <a:gd name="connsiteX2" fmla="*/ 21677 w 21677"/>
              <a:gd name="connsiteY2" fmla="*/ 21940 h 21957"/>
              <a:gd name="connsiteX3" fmla="*/ 20165 w 21677"/>
              <a:gd name="connsiteY3" fmla="*/ 21904 h 21957"/>
              <a:gd name="connsiteX4" fmla="*/ 18012 w 21677"/>
              <a:gd name="connsiteY4" fmla="*/ 21436 h 21957"/>
              <a:gd name="connsiteX5" fmla="*/ 14527 w 21677"/>
              <a:gd name="connsiteY5" fmla="*/ 20999 h 21957"/>
              <a:gd name="connsiteX6" fmla="*/ 0 w 21677"/>
              <a:gd name="connsiteY6" fmla="*/ 20172 h 21957"/>
              <a:gd name="connsiteX7" fmla="*/ 0 w 21677"/>
              <a:gd name="connsiteY7" fmla="*/ 0 h 21957"/>
              <a:gd name="connsiteX0" fmla="*/ 0 w 21677"/>
              <a:gd name="connsiteY0" fmla="*/ 0 h 22014"/>
              <a:gd name="connsiteX1" fmla="*/ 21600 w 21677"/>
              <a:gd name="connsiteY1" fmla="*/ 0 h 22014"/>
              <a:gd name="connsiteX2" fmla="*/ 21677 w 21677"/>
              <a:gd name="connsiteY2" fmla="*/ 21940 h 22014"/>
              <a:gd name="connsiteX3" fmla="*/ 20165 w 21677"/>
              <a:gd name="connsiteY3" fmla="*/ 21904 h 22014"/>
              <a:gd name="connsiteX4" fmla="*/ 18012 w 21677"/>
              <a:gd name="connsiteY4" fmla="*/ 21436 h 22014"/>
              <a:gd name="connsiteX5" fmla="*/ 14527 w 21677"/>
              <a:gd name="connsiteY5" fmla="*/ 20999 h 22014"/>
              <a:gd name="connsiteX6" fmla="*/ 11426 w 21677"/>
              <a:gd name="connsiteY6" fmla="*/ 21186 h 22014"/>
              <a:gd name="connsiteX7" fmla="*/ 0 w 21677"/>
              <a:gd name="connsiteY7" fmla="*/ 20172 h 22014"/>
              <a:gd name="connsiteX8" fmla="*/ 0 w 21677"/>
              <a:gd name="connsiteY8" fmla="*/ 0 h 22014"/>
              <a:gd name="connsiteX0" fmla="*/ 0 w 21677"/>
              <a:gd name="connsiteY0" fmla="*/ 0 h 22267"/>
              <a:gd name="connsiteX1" fmla="*/ 21600 w 21677"/>
              <a:gd name="connsiteY1" fmla="*/ 0 h 22267"/>
              <a:gd name="connsiteX2" fmla="*/ 21677 w 21677"/>
              <a:gd name="connsiteY2" fmla="*/ 21940 h 22267"/>
              <a:gd name="connsiteX3" fmla="*/ 20165 w 21677"/>
              <a:gd name="connsiteY3" fmla="*/ 21904 h 22267"/>
              <a:gd name="connsiteX4" fmla="*/ 18012 w 21677"/>
              <a:gd name="connsiteY4" fmla="*/ 21436 h 22267"/>
              <a:gd name="connsiteX5" fmla="*/ 14527 w 21677"/>
              <a:gd name="connsiteY5" fmla="*/ 20999 h 22267"/>
              <a:gd name="connsiteX6" fmla="*/ 10939 w 21677"/>
              <a:gd name="connsiteY6" fmla="*/ 21810 h 22267"/>
              <a:gd name="connsiteX7" fmla="*/ 0 w 21677"/>
              <a:gd name="connsiteY7" fmla="*/ 20172 h 22267"/>
              <a:gd name="connsiteX8" fmla="*/ 0 w 21677"/>
              <a:gd name="connsiteY8" fmla="*/ 0 h 22267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0939 w 21677"/>
              <a:gd name="connsiteY7" fmla="*/ 21810 h 22232"/>
              <a:gd name="connsiteX8" fmla="*/ 0 w 21677"/>
              <a:gd name="connsiteY8" fmla="*/ 20172 h 22232"/>
              <a:gd name="connsiteX9" fmla="*/ 0 w 21677"/>
              <a:gd name="connsiteY9" fmla="*/ 0 h 22232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0939 w 21677"/>
              <a:gd name="connsiteY7" fmla="*/ 21810 h 22232"/>
              <a:gd name="connsiteX8" fmla="*/ 0 w 21677"/>
              <a:gd name="connsiteY8" fmla="*/ 20172 h 22232"/>
              <a:gd name="connsiteX9" fmla="*/ 0 w 21677"/>
              <a:gd name="connsiteY9" fmla="*/ 0 h 22232"/>
              <a:gd name="connsiteX0" fmla="*/ 0 w 21677"/>
              <a:gd name="connsiteY0" fmla="*/ 0 h 22232"/>
              <a:gd name="connsiteX1" fmla="*/ 21600 w 21677"/>
              <a:gd name="connsiteY1" fmla="*/ 0 h 22232"/>
              <a:gd name="connsiteX2" fmla="*/ 21677 w 21677"/>
              <a:gd name="connsiteY2" fmla="*/ 21940 h 22232"/>
              <a:gd name="connsiteX3" fmla="*/ 20165 w 21677"/>
              <a:gd name="connsiteY3" fmla="*/ 21904 h 22232"/>
              <a:gd name="connsiteX4" fmla="*/ 18012 w 21677"/>
              <a:gd name="connsiteY4" fmla="*/ 21436 h 22232"/>
              <a:gd name="connsiteX5" fmla="*/ 14527 w 21677"/>
              <a:gd name="connsiteY5" fmla="*/ 20999 h 22232"/>
              <a:gd name="connsiteX6" fmla="*/ 12820 w 21677"/>
              <a:gd name="connsiteY6" fmla="*/ 21342 h 22232"/>
              <a:gd name="connsiteX7" fmla="*/ 11867 w 21677"/>
              <a:gd name="connsiteY7" fmla="*/ 21904 h 22232"/>
              <a:gd name="connsiteX8" fmla="*/ 10939 w 21677"/>
              <a:gd name="connsiteY8" fmla="*/ 21810 h 22232"/>
              <a:gd name="connsiteX9" fmla="*/ 0 w 21677"/>
              <a:gd name="connsiteY9" fmla="*/ 20172 h 22232"/>
              <a:gd name="connsiteX10" fmla="*/ 0 w 21677"/>
              <a:gd name="connsiteY10" fmla="*/ 0 h 22232"/>
              <a:gd name="connsiteX0" fmla="*/ 0 w 21677"/>
              <a:gd name="connsiteY0" fmla="*/ 0 h 22065"/>
              <a:gd name="connsiteX1" fmla="*/ 21600 w 21677"/>
              <a:gd name="connsiteY1" fmla="*/ 0 h 22065"/>
              <a:gd name="connsiteX2" fmla="*/ 21677 w 21677"/>
              <a:gd name="connsiteY2" fmla="*/ 21940 h 22065"/>
              <a:gd name="connsiteX3" fmla="*/ 20165 w 21677"/>
              <a:gd name="connsiteY3" fmla="*/ 21904 h 22065"/>
              <a:gd name="connsiteX4" fmla="*/ 18012 w 21677"/>
              <a:gd name="connsiteY4" fmla="*/ 21436 h 22065"/>
              <a:gd name="connsiteX5" fmla="*/ 14527 w 21677"/>
              <a:gd name="connsiteY5" fmla="*/ 20999 h 22065"/>
              <a:gd name="connsiteX6" fmla="*/ 12820 w 21677"/>
              <a:gd name="connsiteY6" fmla="*/ 21342 h 22065"/>
              <a:gd name="connsiteX7" fmla="*/ 11867 w 21677"/>
              <a:gd name="connsiteY7" fmla="*/ 21904 h 22065"/>
              <a:gd name="connsiteX8" fmla="*/ 10939 w 21677"/>
              <a:gd name="connsiteY8" fmla="*/ 21810 h 22065"/>
              <a:gd name="connsiteX9" fmla="*/ 7310 w 21677"/>
              <a:gd name="connsiteY9" fmla="*/ 21249 h 22065"/>
              <a:gd name="connsiteX10" fmla="*/ 0 w 21677"/>
              <a:gd name="connsiteY10" fmla="*/ 20172 h 22065"/>
              <a:gd name="connsiteX11" fmla="*/ 0 w 21677"/>
              <a:gd name="connsiteY11" fmla="*/ 0 h 22065"/>
              <a:gd name="connsiteX0" fmla="*/ 0 w 21677"/>
              <a:gd name="connsiteY0" fmla="*/ 0 h 22492"/>
              <a:gd name="connsiteX1" fmla="*/ 21600 w 21677"/>
              <a:gd name="connsiteY1" fmla="*/ 0 h 22492"/>
              <a:gd name="connsiteX2" fmla="*/ 21677 w 21677"/>
              <a:gd name="connsiteY2" fmla="*/ 21940 h 22492"/>
              <a:gd name="connsiteX3" fmla="*/ 20165 w 21677"/>
              <a:gd name="connsiteY3" fmla="*/ 21904 h 22492"/>
              <a:gd name="connsiteX4" fmla="*/ 18012 w 21677"/>
              <a:gd name="connsiteY4" fmla="*/ 21436 h 22492"/>
              <a:gd name="connsiteX5" fmla="*/ 14527 w 21677"/>
              <a:gd name="connsiteY5" fmla="*/ 20999 h 22492"/>
              <a:gd name="connsiteX6" fmla="*/ 12820 w 21677"/>
              <a:gd name="connsiteY6" fmla="*/ 21342 h 22492"/>
              <a:gd name="connsiteX7" fmla="*/ 11867 w 21677"/>
              <a:gd name="connsiteY7" fmla="*/ 21904 h 22492"/>
              <a:gd name="connsiteX8" fmla="*/ 10939 w 21677"/>
              <a:gd name="connsiteY8" fmla="*/ 21810 h 22492"/>
              <a:gd name="connsiteX9" fmla="*/ 7310 w 21677"/>
              <a:gd name="connsiteY9" fmla="*/ 21249 h 22492"/>
              <a:gd name="connsiteX10" fmla="*/ 4503 w 21677"/>
              <a:gd name="connsiteY10" fmla="*/ 22216 h 22492"/>
              <a:gd name="connsiteX11" fmla="*/ 0 w 21677"/>
              <a:gd name="connsiteY11" fmla="*/ 20172 h 22492"/>
              <a:gd name="connsiteX12" fmla="*/ 0 w 21677"/>
              <a:gd name="connsiteY12" fmla="*/ 0 h 22492"/>
              <a:gd name="connsiteX0" fmla="*/ 0 w 21677"/>
              <a:gd name="connsiteY0" fmla="*/ 0 h 22254"/>
              <a:gd name="connsiteX1" fmla="*/ 21600 w 21677"/>
              <a:gd name="connsiteY1" fmla="*/ 0 h 22254"/>
              <a:gd name="connsiteX2" fmla="*/ 21677 w 21677"/>
              <a:gd name="connsiteY2" fmla="*/ 21940 h 22254"/>
              <a:gd name="connsiteX3" fmla="*/ 20165 w 21677"/>
              <a:gd name="connsiteY3" fmla="*/ 21904 h 22254"/>
              <a:gd name="connsiteX4" fmla="*/ 18012 w 21677"/>
              <a:gd name="connsiteY4" fmla="*/ 21436 h 22254"/>
              <a:gd name="connsiteX5" fmla="*/ 14527 w 21677"/>
              <a:gd name="connsiteY5" fmla="*/ 20999 h 22254"/>
              <a:gd name="connsiteX6" fmla="*/ 12820 w 21677"/>
              <a:gd name="connsiteY6" fmla="*/ 21342 h 22254"/>
              <a:gd name="connsiteX7" fmla="*/ 11867 w 21677"/>
              <a:gd name="connsiteY7" fmla="*/ 21904 h 22254"/>
              <a:gd name="connsiteX8" fmla="*/ 10939 w 21677"/>
              <a:gd name="connsiteY8" fmla="*/ 21810 h 22254"/>
              <a:gd name="connsiteX9" fmla="*/ 7310 w 21677"/>
              <a:gd name="connsiteY9" fmla="*/ 21249 h 22254"/>
              <a:gd name="connsiteX10" fmla="*/ 4503 w 21677"/>
              <a:gd name="connsiteY10" fmla="*/ 22216 h 22254"/>
              <a:gd name="connsiteX11" fmla="*/ 2469 w 21677"/>
              <a:gd name="connsiteY11" fmla="*/ 21498 h 22254"/>
              <a:gd name="connsiteX12" fmla="*/ 0 w 21677"/>
              <a:gd name="connsiteY12" fmla="*/ 20172 h 22254"/>
              <a:gd name="connsiteX13" fmla="*/ 0 w 21677"/>
              <a:gd name="connsiteY13" fmla="*/ 0 h 22254"/>
              <a:gd name="connsiteX0" fmla="*/ 0 w 21677"/>
              <a:gd name="connsiteY0" fmla="*/ 0 h 22292"/>
              <a:gd name="connsiteX1" fmla="*/ 21600 w 21677"/>
              <a:gd name="connsiteY1" fmla="*/ 0 h 22292"/>
              <a:gd name="connsiteX2" fmla="*/ 21677 w 21677"/>
              <a:gd name="connsiteY2" fmla="*/ 21940 h 22292"/>
              <a:gd name="connsiteX3" fmla="*/ 20165 w 21677"/>
              <a:gd name="connsiteY3" fmla="*/ 21904 h 22292"/>
              <a:gd name="connsiteX4" fmla="*/ 18012 w 21677"/>
              <a:gd name="connsiteY4" fmla="*/ 21436 h 22292"/>
              <a:gd name="connsiteX5" fmla="*/ 14527 w 21677"/>
              <a:gd name="connsiteY5" fmla="*/ 20999 h 22292"/>
              <a:gd name="connsiteX6" fmla="*/ 12820 w 21677"/>
              <a:gd name="connsiteY6" fmla="*/ 21342 h 22292"/>
              <a:gd name="connsiteX7" fmla="*/ 11867 w 21677"/>
              <a:gd name="connsiteY7" fmla="*/ 21904 h 22292"/>
              <a:gd name="connsiteX8" fmla="*/ 10939 w 21677"/>
              <a:gd name="connsiteY8" fmla="*/ 21810 h 22292"/>
              <a:gd name="connsiteX9" fmla="*/ 7310 w 21677"/>
              <a:gd name="connsiteY9" fmla="*/ 21249 h 22292"/>
              <a:gd name="connsiteX10" fmla="*/ 4503 w 21677"/>
              <a:gd name="connsiteY10" fmla="*/ 22216 h 22292"/>
              <a:gd name="connsiteX11" fmla="*/ 2315 w 21677"/>
              <a:gd name="connsiteY11" fmla="*/ 21841 h 22292"/>
              <a:gd name="connsiteX12" fmla="*/ 0 w 21677"/>
              <a:gd name="connsiteY12" fmla="*/ 20172 h 22292"/>
              <a:gd name="connsiteX13" fmla="*/ 0 w 21677"/>
              <a:gd name="connsiteY13" fmla="*/ 0 h 22292"/>
              <a:gd name="connsiteX0" fmla="*/ 0 w 21677"/>
              <a:gd name="connsiteY0" fmla="*/ 0 h 22292"/>
              <a:gd name="connsiteX1" fmla="*/ 21600 w 21677"/>
              <a:gd name="connsiteY1" fmla="*/ 0 h 22292"/>
              <a:gd name="connsiteX2" fmla="*/ 21677 w 21677"/>
              <a:gd name="connsiteY2" fmla="*/ 21940 h 22292"/>
              <a:gd name="connsiteX3" fmla="*/ 20165 w 21677"/>
              <a:gd name="connsiteY3" fmla="*/ 21904 h 22292"/>
              <a:gd name="connsiteX4" fmla="*/ 18012 w 21677"/>
              <a:gd name="connsiteY4" fmla="*/ 21436 h 22292"/>
              <a:gd name="connsiteX5" fmla="*/ 14527 w 21677"/>
              <a:gd name="connsiteY5" fmla="*/ 20999 h 22292"/>
              <a:gd name="connsiteX6" fmla="*/ 12820 w 21677"/>
              <a:gd name="connsiteY6" fmla="*/ 21342 h 22292"/>
              <a:gd name="connsiteX7" fmla="*/ 11867 w 21677"/>
              <a:gd name="connsiteY7" fmla="*/ 21904 h 22292"/>
              <a:gd name="connsiteX8" fmla="*/ 10939 w 21677"/>
              <a:gd name="connsiteY8" fmla="*/ 21810 h 22292"/>
              <a:gd name="connsiteX9" fmla="*/ 7310 w 21677"/>
              <a:gd name="connsiteY9" fmla="*/ 21249 h 22292"/>
              <a:gd name="connsiteX10" fmla="*/ 4503 w 21677"/>
              <a:gd name="connsiteY10" fmla="*/ 22216 h 22292"/>
              <a:gd name="connsiteX11" fmla="*/ 2315 w 21677"/>
              <a:gd name="connsiteY11" fmla="*/ 21841 h 22292"/>
              <a:gd name="connsiteX12" fmla="*/ 0 w 21677"/>
              <a:gd name="connsiteY12" fmla="*/ 20172 h 22292"/>
              <a:gd name="connsiteX13" fmla="*/ 0 w 21677"/>
              <a:gd name="connsiteY13" fmla="*/ 0 h 22292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0 w 21677"/>
              <a:gd name="connsiteY12" fmla="*/ 20172 h 22234"/>
              <a:gd name="connsiteX13" fmla="*/ 0 w 21677"/>
              <a:gd name="connsiteY13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821 w 21677"/>
              <a:gd name="connsiteY12" fmla="*/ 20406 h 22234"/>
              <a:gd name="connsiteX13" fmla="*/ 0 w 21677"/>
              <a:gd name="connsiteY13" fmla="*/ 20172 h 22234"/>
              <a:gd name="connsiteX14" fmla="*/ 0 w 21677"/>
              <a:gd name="connsiteY14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8012 w 21677"/>
              <a:gd name="connsiteY4" fmla="*/ 21436 h 22234"/>
              <a:gd name="connsiteX5" fmla="*/ 14527 w 21677"/>
              <a:gd name="connsiteY5" fmla="*/ 20999 h 22234"/>
              <a:gd name="connsiteX6" fmla="*/ 12820 w 21677"/>
              <a:gd name="connsiteY6" fmla="*/ 21342 h 22234"/>
              <a:gd name="connsiteX7" fmla="*/ 11867 w 21677"/>
              <a:gd name="connsiteY7" fmla="*/ 21904 h 22234"/>
              <a:gd name="connsiteX8" fmla="*/ 10939 w 21677"/>
              <a:gd name="connsiteY8" fmla="*/ 21810 h 22234"/>
              <a:gd name="connsiteX9" fmla="*/ 7310 w 21677"/>
              <a:gd name="connsiteY9" fmla="*/ 21249 h 22234"/>
              <a:gd name="connsiteX10" fmla="*/ 4503 w 21677"/>
              <a:gd name="connsiteY10" fmla="*/ 22216 h 22234"/>
              <a:gd name="connsiteX11" fmla="*/ 2315 w 21677"/>
              <a:gd name="connsiteY11" fmla="*/ 21841 h 22234"/>
              <a:gd name="connsiteX12" fmla="*/ 1465 w 21677"/>
              <a:gd name="connsiteY12" fmla="*/ 21436 h 22234"/>
              <a:gd name="connsiteX13" fmla="*/ 821 w 21677"/>
              <a:gd name="connsiteY13" fmla="*/ 20406 h 22234"/>
              <a:gd name="connsiteX14" fmla="*/ 0 w 21677"/>
              <a:gd name="connsiteY14" fmla="*/ 20172 h 22234"/>
              <a:gd name="connsiteX15" fmla="*/ 0 w 21677"/>
              <a:gd name="connsiteY15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4527 w 21677"/>
              <a:gd name="connsiteY6" fmla="*/ 20999 h 22234"/>
              <a:gd name="connsiteX7" fmla="*/ 12820 w 21677"/>
              <a:gd name="connsiteY7" fmla="*/ 21342 h 22234"/>
              <a:gd name="connsiteX8" fmla="*/ 11867 w 21677"/>
              <a:gd name="connsiteY8" fmla="*/ 21904 h 22234"/>
              <a:gd name="connsiteX9" fmla="*/ 10939 w 21677"/>
              <a:gd name="connsiteY9" fmla="*/ 21810 h 22234"/>
              <a:gd name="connsiteX10" fmla="*/ 7310 w 21677"/>
              <a:gd name="connsiteY10" fmla="*/ 21249 h 22234"/>
              <a:gd name="connsiteX11" fmla="*/ 4503 w 21677"/>
              <a:gd name="connsiteY11" fmla="*/ 22216 h 22234"/>
              <a:gd name="connsiteX12" fmla="*/ 2315 w 21677"/>
              <a:gd name="connsiteY12" fmla="*/ 21841 h 22234"/>
              <a:gd name="connsiteX13" fmla="*/ 1465 w 21677"/>
              <a:gd name="connsiteY13" fmla="*/ 21436 h 22234"/>
              <a:gd name="connsiteX14" fmla="*/ 821 w 21677"/>
              <a:gd name="connsiteY14" fmla="*/ 20406 h 22234"/>
              <a:gd name="connsiteX15" fmla="*/ 0 w 21677"/>
              <a:gd name="connsiteY15" fmla="*/ 20172 h 22234"/>
              <a:gd name="connsiteX16" fmla="*/ 0 w 21677"/>
              <a:gd name="connsiteY16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2820 w 21677"/>
              <a:gd name="connsiteY8" fmla="*/ 21342 h 22234"/>
              <a:gd name="connsiteX9" fmla="*/ 11867 w 21677"/>
              <a:gd name="connsiteY9" fmla="*/ 21904 h 22234"/>
              <a:gd name="connsiteX10" fmla="*/ 10939 w 21677"/>
              <a:gd name="connsiteY10" fmla="*/ 21810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810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904 h 22234"/>
              <a:gd name="connsiteX11" fmla="*/ 7310 w 21677"/>
              <a:gd name="connsiteY11" fmla="*/ 21249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4"/>
              <a:gd name="connsiteX1" fmla="*/ 21600 w 21677"/>
              <a:gd name="connsiteY1" fmla="*/ 0 h 22234"/>
              <a:gd name="connsiteX2" fmla="*/ 21677 w 21677"/>
              <a:gd name="connsiteY2" fmla="*/ 21940 h 22234"/>
              <a:gd name="connsiteX3" fmla="*/ 20165 w 21677"/>
              <a:gd name="connsiteY3" fmla="*/ 21904 h 22234"/>
              <a:gd name="connsiteX4" fmla="*/ 19025 w 21677"/>
              <a:gd name="connsiteY4" fmla="*/ 21561 h 22234"/>
              <a:gd name="connsiteX5" fmla="*/ 18012 w 21677"/>
              <a:gd name="connsiteY5" fmla="*/ 21436 h 22234"/>
              <a:gd name="connsiteX6" fmla="*/ 16321 w 21677"/>
              <a:gd name="connsiteY6" fmla="*/ 21342 h 22234"/>
              <a:gd name="connsiteX7" fmla="*/ 14527 w 21677"/>
              <a:gd name="connsiteY7" fmla="*/ 20999 h 22234"/>
              <a:gd name="connsiteX8" fmla="*/ 13000 w 21677"/>
              <a:gd name="connsiteY8" fmla="*/ 21404 h 22234"/>
              <a:gd name="connsiteX9" fmla="*/ 11867 w 21677"/>
              <a:gd name="connsiteY9" fmla="*/ 21904 h 22234"/>
              <a:gd name="connsiteX10" fmla="*/ 10939 w 21677"/>
              <a:gd name="connsiteY10" fmla="*/ 21904 h 22234"/>
              <a:gd name="connsiteX11" fmla="*/ 7181 w 21677"/>
              <a:gd name="connsiteY11" fmla="*/ 21187 h 22234"/>
              <a:gd name="connsiteX12" fmla="*/ 4503 w 21677"/>
              <a:gd name="connsiteY12" fmla="*/ 22216 h 22234"/>
              <a:gd name="connsiteX13" fmla="*/ 2315 w 21677"/>
              <a:gd name="connsiteY13" fmla="*/ 21841 h 22234"/>
              <a:gd name="connsiteX14" fmla="*/ 1465 w 21677"/>
              <a:gd name="connsiteY14" fmla="*/ 21436 h 22234"/>
              <a:gd name="connsiteX15" fmla="*/ 821 w 21677"/>
              <a:gd name="connsiteY15" fmla="*/ 20406 h 22234"/>
              <a:gd name="connsiteX16" fmla="*/ 0 w 21677"/>
              <a:gd name="connsiteY16" fmla="*/ 20172 h 22234"/>
              <a:gd name="connsiteX17" fmla="*/ 0 w 21677"/>
              <a:gd name="connsiteY17" fmla="*/ 0 h 22234"/>
              <a:gd name="connsiteX0" fmla="*/ 0 w 21677"/>
              <a:gd name="connsiteY0" fmla="*/ 0 h 22238"/>
              <a:gd name="connsiteX1" fmla="*/ 21600 w 21677"/>
              <a:gd name="connsiteY1" fmla="*/ 0 h 22238"/>
              <a:gd name="connsiteX2" fmla="*/ 21677 w 21677"/>
              <a:gd name="connsiteY2" fmla="*/ 21940 h 22238"/>
              <a:gd name="connsiteX3" fmla="*/ 20165 w 21677"/>
              <a:gd name="connsiteY3" fmla="*/ 21904 h 22238"/>
              <a:gd name="connsiteX4" fmla="*/ 19025 w 21677"/>
              <a:gd name="connsiteY4" fmla="*/ 21561 h 22238"/>
              <a:gd name="connsiteX5" fmla="*/ 18012 w 21677"/>
              <a:gd name="connsiteY5" fmla="*/ 21436 h 22238"/>
              <a:gd name="connsiteX6" fmla="*/ 16321 w 21677"/>
              <a:gd name="connsiteY6" fmla="*/ 21342 h 22238"/>
              <a:gd name="connsiteX7" fmla="*/ 14527 w 21677"/>
              <a:gd name="connsiteY7" fmla="*/ 20999 h 22238"/>
              <a:gd name="connsiteX8" fmla="*/ 13000 w 21677"/>
              <a:gd name="connsiteY8" fmla="*/ 21404 h 22238"/>
              <a:gd name="connsiteX9" fmla="*/ 11867 w 21677"/>
              <a:gd name="connsiteY9" fmla="*/ 21904 h 22238"/>
              <a:gd name="connsiteX10" fmla="*/ 10939 w 21677"/>
              <a:gd name="connsiteY10" fmla="*/ 21904 h 22238"/>
              <a:gd name="connsiteX11" fmla="*/ 7181 w 21677"/>
              <a:gd name="connsiteY11" fmla="*/ 21437 h 22238"/>
              <a:gd name="connsiteX12" fmla="*/ 4503 w 21677"/>
              <a:gd name="connsiteY12" fmla="*/ 22216 h 22238"/>
              <a:gd name="connsiteX13" fmla="*/ 2315 w 21677"/>
              <a:gd name="connsiteY13" fmla="*/ 21841 h 22238"/>
              <a:gd name="connsiteX14" fmla="*/ 1465 w 21677"/>
              <a:gd name="connsiteY14" fmla="*/ 21436 h 22238"/>
              <a:gd name="connsiteX15" fmla="*/ 821 w 21677"/>
              <a:gd name="connsiteY15" fmla="*/ 20406 h 22238"/>
              <a:gd name="connsiteX16" fmla="*/ 0 w 21677"/>
              <a:gd name="connsiteY16" fmla="*/ 20172 h 22238"/>
              <a:gd name="connsiteX17" fmla="*/ 0 w 21677"/>
              <a:gd name="connsiteY17" fmla="*/ 0 h 22238"/>
              <a:gd name="connsiteX0" fmla="*/ 0 w 21677"/>
              <a:gd name="connsiteY0" fmla="*/ 0 h 22238"/>
              <a:gd name="connsiteX1" fmla="*/ 21600 w 21677"/>
              <a:gd name="connsiteY1" fmla="*/ 0 h 22238"/>
              <a:gd name="connsiteX2" fmla="*/ 21677 w 21677"/>
              <a:gd name="connsiteY2" fmla="*/ 21940 h 22238"/>
              <a:gd name="connsiteX3" fmla="*/ 20165 w 21677"/>
              <a:gd name="connsiteY3" fmla="*/ 21904 h 22238"/>
              <a:gd name="connsiteX4" fmla="*/ 19025 w 21677"/>
              <a:gd name="connsiteY4" fmla="*/ 21561 h 22238"/>
              <a:gd name="connsiteX5" fmla="*/ 18012 w 21677"/>
              <a:gd name="connsiteY5" fmla="*/ 21436 h 22238"/>
              <a:gd name="connsiteX6" fmla="*/ 16321 w 21677"/>
              <a:gd name="connsiteY6" fmla="*/ 21342 h 22238"/>
              <a:gd name="connsiteX7" fmla="*/ 14527 w 21677"/>
              <a:gd name="connsiteY7" fmla="*/ 20999 h 22238"/>
              <a:gd name="connsiteX8" fmla="*/ 13000 w 21677"/>
              <a:gd name="connsiteY8" fmla="*/ 21404 h 22238"/>
              <a:gd name="connsiteX9" fmla="*/ 11867 w 21677"/>
              <a:gd name="connsiteY9" fmla="*/ 21904 h 22238"/>
              <a:gd name="connsiteX10" fmla="*/ 10939 w 21677"/>
              <a:gd name="connsiteY10" fmla="*/ 21904 h 22238"/>
              <a:gd name="connsiteX11" fmla="*/ 7876 w 21677"/>
              <a:gd name="connsiteY11" fmla="*/ 21436 h 22238"/>
              <a:gd name="connsiteX12" fmla="*/ 7181 w 21677"/>
              <a:gd name="connsiteY12" fmla="*/ 21437 h 22238"/>
              <a:gd name="connsiteX13" fmla="*/ 4503 w 21677"/>
              <a:gd name="connsiteY13" fmla="*/ 22216 h 22238"/>
              <a:gd name="connsiteX14" fmla="*/ 2315 w 21677"/>
              <a:gd name="connsiteY14" fmla="*/ 21841 h 22238"/>
              <a:gd name="connsiteX15" fmla="*/ 1465 w 21677"/>
              <a:gd name="connsiteY15" fmla="*/ 21436 h 22238"/>
              <a:gd name="connsiteX16" fmla="*/ 821 w 21677"/>
              <a:gd name="connsiteY16" fmla="*/ 20406 h 22238"/>
              <a:gd name="connsiteX17" fmla="*/ 0 w 21677"/>
              <a:gd name="connsiteY17" fmla="*/ 20172 h 22238"/>
              <a:gd name="connsiteX18" fmla="*/ 0 w 21677"/>
              <a:gd name="connsiteY18" fmla="*/ 0 h 22238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2315 w 21677"/>
              <a:gd name="connsiteY14" fmla="*/ 21841 h 22391"/>
              <a:gd name="connsiteX15" fmla="*/ 1465 w 21677"/>
              <a:gd name="connsiteY15" fmla="*/ 21436 h 22391"/>
              <a:gd name="connsiteX16" fmla="*/ 821 w 21677"/>
              <a:gd name="connsiteY16" fmla="*/ 20406 h 22391"/>
              <a:gd name="connsiteX17" fmla="*/ 0 w 21677"/>
              <a:gd name="connsiteY17" fmla="*/ 20172 h 22391"/>
              <a:gd name="connsiteX18" fmla="*/ 0 w 21677"/>
              <a:gd name="connsiteY18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2238 w 21677"/>
              <a:gd name="connsiteY14" fmla="*/ 21997 h 22391"/>
              <a:gd name="connsiteX15" fmla="*/ 1465 w 21677"/>
              <a:gd name="connsiteY15" fmla="*/ 21436 h 22391"/>
              <a:gd name="connsiteX16" fmla="*/ 821 w 21677"/>
              <a:gd name="connsiteY16" fmla="*/ 20406 h 22391"/>
              <a:gd name="connsiteX17" fmla="*/ 0 w 21677"/>
              <a:gd name="connsiteY17" fmla="*/ 20172 h 22391"/>
              <a:gd name="connsiteX18" fmla="*/ 0 w 21677"/>
              <a:gd name="connsiteY18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7876 w 21677"/>
              <a:gd name="connsiteY11" fmla="*/ 21436 h 22391"/>
              <a:gd name="connsiteX12" fmla="*/ 7181 w 21677"/>
              <a:gd name="connsiteY12" fmla="*/ 21437 h 22391"/>
              <a:gd name="connsiteX13" fmla="*/ 4452 w 21677"/>
              <a:gd name="connsiteY13" fmla="*/ 22372 h 22391"/>
              <a:gd name="connsiteX14" fmla="*/ 3216 w 21677"/>
              <a:gd name="connsiteY14" fmla="*/ 22029 h 22391"/>
              <a:gd name="connsiteX15" fmla="*/ 2238 w 21677"/>
              <a:gd name="connsiteY15" fmla="*/ 21997 h 22391"/>
              <a:gd name="connsiteX16" fmla="*/ 1465 w 21677"/>
              <a:gd name="connsiteY16" fmla="*/ 21436 h 22391"/>
              <a:gd name="connsiteX17" fmla="*/ 821 w 21677"/>
              <a:gd name="connsiteY17" fmla="*/ 20406 h 22391"/>
              <a:gd name="connsiteX18" fmla="*/ 0 w 21677"/>
              <a:gd name="connsiteY18" fmla="*/ 20172 h 22391"/>
              <a:gd name="connsiteX19" fmla="*/ 0 w 21677"/>
              <a:gd name="connsiteY19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939 w 21677"/>
              <a:gd name="connsiteY10" fmla="*/ 21904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000 w 21677"/>
              <a:gd name="connsiteY8" fmla="*/ 21404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321 w 21677"/>
              <a:gd name="connsiteY6" fmla="*/ 21342 h 22391"/>
              <a:gd name="connsiteX7" fmla="*/ 14527 w 21677"/>
              <a:gd name="connsiteY7" fmla="*/ 20999 h 22391"/>
              <a:gd name="connsiteX8" fmla="*/ 13206 w 21677"/>
              <a:gd name="connsiteY8" fmla="*/ 21279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677"/>
              <a:gd name="connsiteY0" fmla="*/ 0 h 22391"/>
              <a:gd name="connsiteX1" fmla="*/ 21600 w 21677"/>
              <a:gd name="connsiteY1" fmla="*/ 0 h 22391"/>
              <a:gd name="connsiteX2" fmla="*/ 21677 w 21677"/>
              <a:gd name="connsiteY2" fmla="*/ 21940 h 22391"/>
              <a:gd name="connsiteX3" fmla="*/ 20165 w 21677"/>
              <a:gd name="connsiteY3" fmla="*/ 21904 h 22391"/>
              <a:gd name="connsiteX4" fmla="*/ 19025 w 21677"/>
              <a:gd name="connsiteY4" fmla="*/ 21561 h 22391"/>
              <a:gd name="connsiteX5" fmla="*/ 18012 w 21677"/>
              <a:gd name="connsiteY5" fmla="*/ 21436 h 22391"/>
              <a:gd name="connsiteX6" fmla="*/ 16295 w 21677"/>
              <a:gd name="connsiteY6" fmla="*/ 21311 h 22391"/>
              <a:gd name="connsiteX7" fmla="*/ 14527 w 21677"/>
              <a:gd name="connsiteY7" fmla="*/ 20999 h 22391"/>
              <a:gd name="connsiteX8" fmla="*/ 13206 w 21677"/>
              <a:gd name="connsiteY8" fmla="*/ 21279 h 22391"/>
              <a:gd name="connsiteX9" fmla="*/ 11867 w 21677"/>
              <a:gd name="connsiteY9" fmla="*/ 21904 h 22391"/>
              <a:gd name="connsiteX10" fmla="*/ 10836 w 21677"/>
              <a:gd name="connsiteY10" fmla="*/ 22060 h 22391"/>
              <a:gd name="connsiteX11" fmla="*/ 9472 w 21677"/>
              <a:gd name="connsiteY11" fmla="*/ 21779 h 22391"/>
              <a:gd name="connsiteX12" fmla="*/ 7876 w 21677"/>
              <a:gd name="connsiteY12" fmla="*/ 21436 h 22391"/>
              <a:gd name="connsiteX13" fmla="*/ 7181 w 21677"/>
              <a:gd name="connsiteY13" fmla="*/ 21437 h 22391"/>
              <a:gd name="connsiteX14" fmla="*/ 4452 w 21677"/>
              <a:gd name="connsiteY14" fmla="*/ 22372 h 22391"/>
              <a:gd name="connsiteX15" fmla="*/ 3216 w 21677"/>
              <a:gd name="connsiteY15" fmla="*/ 22029 h 22391"/>
              <a:gd name="connsiteX16" fmla="*/ 2238 w 21677"/>
              <a:gd name="connsiteY16" fmla="*/ 21997 h 22391"/>
              <a:gd name="connsiteX17" fmla="*/ 1465 w 21677"/>
              <a:gd name="connsiteY17" fmla="*/ 21436 h 22391"/>
              <a:gd name="connsiteX18" fmla="*/ 821 w 21677"/>
              <a:gd name="connsiteY18" fmla="*/ 20406 h 22391"/>
              <a:gd name="connsiteX19" fmla="*/ 0 w 21677"/>
              <a:gd name="connsiteY19" fmla="*/ 20172 h 22391"/>
              <a:gd name="connsiteX20" fmla="*/ 0 w 21677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821 w 21703"/>
              <a:gd name="connsiteY18" fmla="*/ 20406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821 w 21703"/>
              <a:gd name="connsiteY18" fmla="*/ 20406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78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770 w 21703"/>
              <a:gd name="connsiteY18" fmla="*/ 20531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734 h 22391"/>
              <a:gd name="connsiteX3" fmla="*/ 20165 w 21703"/>
              <a:gd name="connsiteY3" fmla="*/ 21904 h 22391"/>
              <a:gd name="connsiteX4" fmla="*/ 19025 w 21703"/>
              <a:gd name="connsiteY4" fmla="*/ 21561 h 22391"/>
              <a:gd name="connsiteX5" fmla="*/ 18012 w 21703"/>
              <a:gd name="connsiteY5" fmla="*/ 21436 h 22391"/>
              <a:gd name="connsiteX6" fmla="*/ 16295 w 21703"/>
              <a:gd name="connsiteY6" fmla="*/ 21311 h 22391"/>
              <a:gd name="connsiteX7" fmla="*/ 14527 w 21703"/>
              <a:gd name="connsiteY7" fmla="*/ 20999 h 22391"/>
              <a:gd name="connsiteX8" fmla="*/ 13206 w 21703"/>
              <a:gd name="connsiteY8" fmla="*/ 21279 h 22391"/>
              <a:gd name="connsiteX9" fmla="*/ 11867 w 21703"/>
              <a:gd name="connsiteY9" fmla="*/ 21904 h 22391"/>
              <a:gd name="connsiteX10" fmla="*/ 10836 w 21703"/>
              <a:gd name="connsiteY10" fmla="*/ 22060 h 22391"/>
              <a:gd name="connsiteX11" fmla="*/ 9472 w 21703"/>
              <a:gd name="connsiteY11" fmla="*/ 21779 h 22391"/>
              <a:gd name="connsiteX12" fmla="*/ 7876 w 21703"/>
              <a:gd name="connsiteY12" fmla="*/ 21436 h 22391"/>
              <a:gd name="connsiteX13" fmla="*/ 7181 w 21703"/>
              <a:gd name="connsiteY13" fmla="*/ 21437 h 22391"/>
              <a:gd name="connsiteX14" fmla="*/ 4452 w 21703"/>
              <a:gd name="connsiteY14" fmla="*/ 22372 h 22391"/>
              <a:gd name="connsiteX15" fmla="*/ 3216 w 21703"/>
              <a:gd name="connsiteY15" fmla="*/ 22029 h 22391"/>
              <a:gd name="connsiteX16" fmla="*/ 2238 w 21703"/>
              <a:gd name="connsiteY16" fmla="*/ 21997 h 22391"/>
              <a:gd name="connsiteX17" fmla="*/ 1465 w 21703"/>
              <a:gd name="connsiteY17" fmla="*/ 21436 h 22391"/>
              <a:gd name="connsiteX18" fmla="*/ 770 w 21703"/>
              <a:gd name="connsiteY18" fmla="*/ 20531 h 22391"/>
              <a:gd name="connsiteX19" fmla="*/ 0 w 21703"/>
              <a:gd name="connsiteY19" fmla="*/ 20172 h 22391"/>
              <a:gd name="connsiteX20" fmla="*/ 0 w 21703"/>
              <a:gd name="connsiteY20" fmla="*/ 0 h 22391"/>
              <a:gd name="connsiteX0" fmla="*/ 0 w 21703"/>
              <a:gd name="connsiteY0" fmla="*/ 0 h 23402"/>
              <a:gd name="connsiteX1" fmla="*/ 21600 w 21703"/>
              <a:gd name="connsiteY1" fmla="*/ 0 h 23402"/>
              <a:gd name="connsiteX2" fmla="*/ 21703 w 21703"/>
              <a:gd name="connsiteY2" fmla="*/ 21734 h 23402"/>
              <a:gd name="connsiteX3" fmla="*/ 21074 w 21703"/>
              <a:gd name="connsiteY3" fmla="*/ 21946 h 23402"/>
              <a:gd name="connsiteX4" fmla="*/ 20165 w 21703"/>
              <a:gd name="connsiteY4" fmla="*/ 21904 h 23402"/>
              <a:gd name="connsiteX5" fmla="*/ 19025 w 21703"/>
              <a:gd name="connsiteY5" fmla="*/ 21561 h 23402"/>
              <a:gd name="connsiteX6" fmla="*/ 18012 w 21703"/>
              <a:gd name="connsiteY6" fmla="*/ 21436 h 23402"/>
              <a:gd name="connsiteX7" fmla="*/ 16295 w 21703"/>
              <a:gd name="connsiteY7" fmla="*/ 21311 h 23402"/>
              <a:gd name="connsiteX8" fmla="*/ 14527 w 21703"/>
              <a:gd name="connsiteY8" fmla="*/ 20999 h 23402"/>
              <a:gd name="connsiteX9" fmla="*/ 13206 w 21703"/>
              <a:gd name="connsiteY9" fmla="*/ 21279 h 23402"/>
              <a:gd name="connsiteX10" fmla="*/ 11867 w 21703"/>
              <a:gd name="connsiteY10" fmla="*/ 21904 h 23402"/>
              <a:gd name="connsiteX11" fmla="*/ 10836 w 21703"/>
              <a:gd name="connsiteY11" fmla="*/ 22060 h 23402"/>
              <a:gd name="connsiteX12" fmla="*/ 9472 w 21703"/>
              <a:gd name="connsiteY12" fmla="*/ 21779 h 23402"/>
              <a:gd name="connsiteX13" fmla="*/ 7876 w 21703"/>
              <a:gd name="connsiteY13" fmla="*/ 21436 h 23402"/>
              <a:gd name="connsiteX14" fmla="*/ 7181 w 21703"/>
              <a:gd name="connsiteY14" fmla="*/ 21437 h 23402"/>
              <a:gd name="connsiteX15" fmla="*/ 4452 w 21703"/>
              <a:gd name="connsiteY15" fmla="*/ 22372 h 23402"/>
              <a:gd name="connsiteX16" fmla="*/ 3216 w 21703"/>
              <a:gd name="connsiteY16" fmla="*/ 22029 h 23402"/>
              <a:gd name="connsiteX17" fmla="*/ 2238 w 21703"/>
              <a:gd name="connsiteY17" fmla="*/ 21997 h 23402"/>
              <a:gd name="connsiteX18" fmla="*/ 1465 w 21703"/>
              <a:gd name="connsiteY18" fmla="*/ 21436 h 23402"/>
              <a:gd name="connsiteX19" fmla="*/ 770 w 21703"/>
              <a:gd name="connsiteY19" fmla="*/ 20531 h 23402"/>
              <a:gd name="connsiteX20" fmla="*/ 0 w 21703"/>
              <a:gd name="connsiteY20" fmla="*/ 20172 h 23402"/>
              <a:gd name="connsiteX21" fmla="*/ 0 w 21703"/>
              <a:gd name="connsiteY21" fmla="*/ 0 h 23402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734 h 22391"/>
              <a:gd name="connsiteX3" fmla="*/ 21074 w 21703"/>
              <a:gd name="connsiteY3" fmla="*/ 21946 h 22391"/>
              <a:gd name="connsiteX4" fmla="*/ 20165 w 21703"/>
              <a:gd name="connsiteY4" fmla="*/ 21904 h 22391"/>
              <a:gd name="connsiteX5" fmla="*/ 19025 w 21703"/>
              <a:gd name="connsiteY5" fmla="*/ 21561 h 22391"/>
              <a:gd name="connsiteX6" fmla="*/ 18012 w 21703"/>
              <a:gd name="connsiteY6" fmla="*/ 21436 h 22391"/>
              <a:gd name="connsiteX7" fmla="*/ 16295 w 21703"/>
              <a:gd name="connsiteY7" fmla="*/ 21311 h 22391"/>
              <a:gd name="connsiteX8" fmla="*/ 14527 w 21703"/>
              <a:gd name="connsiteY8" fmla="*/ 20999 h 22391"/>
              <a:gd name="connsiteX9" fmla="*/ 13206 w 21703"/>
              <a:gd name="connsiteY9" fmla="*/ 21279 h 22391"/>
              <a:gd name="connsiteX10" fmla="*/ 11867 w 21703"/>
              <a:gd name="connsiteY10" fmla="*/ 21904 h 22391"/>
              <a:gd name="connsiteX11" fmla="*/ 10836 w 21703"/>
              <a:gd name="connsiteY11" fmla="*/ 22060 h 22391"/>
              <a:gd name="connsiteX12" fmla="*/ 9472 w 21703"/>
              <a:gd name="connsiteY12" fmla="*/ 21779 h 22391"/>
              <a:gd name="connsiteX13" fmla="*/ 7876 w 21703"/>
              <a:gd name="connsiteY13" fmla="*/ 21436 h 22391"/>
              <a:gd name="connsiteX14" fmla="*/ 7181 w 21703"/>
              <a:gd name="connsiteY14" fmla="*/ 21437 h 22391"/>
              <a:gd name="connsiteX15" fmla="*/ 4452 w 21703"/>
              <a:gd name="connsiteY15" fmla="*/ 22372 h 22391"/>
              <a:gd name="connsiteX16" fmla="*/ 3216 w 21703"/>
              <a:gd name="connsiteY16" fmla="*/ 22029 h 22391"/>
              <a:gd name="connsiteX17" fmla="*/ 2238 w 21703"/>
              <a:gd name="connsiteY17" fmla="*/ 21997 h 22391"/>
              <a:gd name="connsiteX18" fmla="*/ 1465 w 21703"/>
              <a:gd name="connsiteY18" fmla="*/ 21436 h 22391"/>
              <a:gd name="connsiteX19" fmla="*/ 770 w 21703"/>
              <a:gd name="connsiteY19" fmla="*/ 20531 h 22391"/>
              <a:gd name="connsiteX20" fmla="*/ 0 w 21703"/>
              <a:gd name="connsiteY20" fmla="*/ 20172 h 22391"/>
              <a:gd name="connsiteX21" fmla="*/ 0 w 21703"/>
              <a:gd name="connsiteY21" fmla="*/ 0 h 22391"/>
              <a:gd name="connsiteX0" fmla="*/ 0 w 21703"/>
              <a:gd name="connsiteY0" fmla="*/ 0 h 22391"/>
              <a:gd name="connsiteX1" fmla="*/ 21600 w 21703"/>
              <a:gd name="connsiteY1" fmla="*/ 0 h 22391"/>
              <a:gd name="connsiteX2" fmla="*/ 21703 w 21703"/>
              <a:gd name="connsiteY2" fmla="*/ 21857 h 22391"/>
              <a:gd name="connsiteX3" fmla="*/ 21074 w 21703"/>
              <a:gd name="connsiteY3" fmla="*/ 21946 h 22391"/>
              <a:gd name="connsiteX4" fmla="*/ 20165 w 21703"/>
              <a:gd name="connsiteY4" fmla="*/ 21904 h 22391"/>
              <a:gd name="connsiteX5" fmla="*/ 19025 w 21703"/>
              <a:gd name="connsiteY5" fmla="*/ 21561 h 22391"/>
              <a:gd name="connsiteX6" fmla="*/ 18012 w 21703"/>
              <a:gd name="connsiteY6" fmla="*/ 21436 h 22391"/>
              <a:gd name="connsiteX7" fmla="*/ 16295 w 21703"/>
              <a:gd name="connsiteY7" fmla="*/ 21311 h 22391"/>
              <a:gd name="connsiteX8" fmla="*/ 14527 w 21703"/>
              <a:gd name="connsiteY8" fmla="*/ 20999 h 22391"/>
              <a:gd name="connsiteX9" fmla="*/ 13206 w 21703"/>
              <a:gd name="connsiteY9" fmla="*/ 21279 h 22391"/>
              <a:gd name="connsiteX10" fmla="*/ 11867 w 21703"/>
              <a:gd name="connsiteY10" fmla="*/ 21904 h 22391"/>
              <a:gd name="connsiteX11" fmla="*/ 10836 w 21703"/>
              <a:gd name="connsiteY11" fmla="*/ 22060 h 22391"/>
              <a:gd name="connsiteX12" fmla="*/ 9472 w 21703"/>
              <a:gd name="connsiteY12" fmla="*/ 21779 h 22391"/>
              <a:gd name="connsiteX13" fmla="*/ 7876 w 21703"/>
              <a:gd name="connsiteY13" fmla="*/ 21436 h 22391"/>
              <a:gd name="connsiteX14" fmla="*/ 7181 w 21703"/>
              <a:gd name="connsiteY14" fmla="*/ 21437 h 22391"/>
              <a:gd name="connsiteX15" fmla="*/ 4452 w 21703"/>
              <a:gd name="connsiteY15" fmla="*/ 22372 h 22391"/>
              <a:gd name="connsiteX16" fmla="*/ 3216 w 21703"/>
              <a:gd name="connsiteY16" fmla="*/ 22029 h 22391"/>
              <a:gd name="connsiteX17" fmla="*/ 2238 w 21703"/>
              <a:gd name="connsiteY17" fmla="*/ 21997 h 22391"/>
              <a:gd name="connsiteX18" fmla="*/ 1465 w 21703"/>
              <a:gd name="connsiteY18" fmla="*/ 21436 h 22391"/>
              <a:gd name="connsiteX19" fmla="*/ 770 w 21703"/>
              <a:gd name="connsiteY19" fmla="*/ 20531 h 22391"/>
              <a:gd name="connsiteX20" fmla="*/ 0 w 21703"/>
              <a:gd name="connsiteY20" fmla="*/ 20172 h 22391"/>
              <a:gd name="connsiteX21" fmla="*/ 0 w 21703"/>
              <a:gd name="connsiteY21" fmla="*/ 0 h 22391"/>
              <a:gd name="connsiteX0" fmla="*/ 0 w 21703"/>
              <a:gd name="connsiteY0" fmla="*/ 62 h 22453"/>
              <a:gd name="connsiteX1" fmla="*/ 21677 w 21703"/>
              <a:gd name="connsiteY1" fmla="*/ 0 h 22453"/>
              <a:gd name="connsiteX2" fmla="*/ 21703 w 21703"/>
              <a:gd name="connsiteY2" fmla="*/ 21919 h 22453"/>
              <a:gd name="connsiteX3" fmla="*/ 21074 w 21703"/>
              <a:gd name="connsiteY3" fmla="*/ 22008 h 22453"/>
              <a:gd name="connsiteX4" fmla="*/ 20165 w 21703"/>
              <a:gd name="connsiteY4" fmla="*/ 21966 h 22453"/>
              <a:gd name="connsiteX5" fmla="*/ 19025 w 21703"/>
              <a:gd name="connsiteY5" fmla="*/ 21623 h 22453"/>
              <a:gd name="connsiteX6" fmla="*/ 18012 w 21703"/>
              <a:gd name="connsiteY6" fmla="*/ 21498 h 22453"/>
              <a:gd name="connsiteX7" fmla="*/ 16295 w 21703"/>
              <a:gd name="connsiteY7" fmla="*/ 21373 h 22453"/>
              <a:gd name="connsiteX8" fmla="*/ 14527 w 21703"/>
              <a:gd name="connsiteY8" fmla="*/ 21061 h 22453"/>
              <a:gd name="connsiteX9" fmla="*/ 13206 w 21703"/>
              <a:gd name="connsiteY9" fmla="*/ 21341 h 22453"/>
              <a:gd name="connsiteX10" fmla="*/ 11867 w 21703"/>
              <a:gd name="connsiteY10" fmla="*/ 21966 h 22453"/>
              <a:gd name="connsiteX11" fmla="*/ 10836 w 21703"/>
              <a:gd name="connsiteY11" fmla="*/ 22122 h 22453"/>
              <a:gd name="connsiteX12" fmla="*/ 9472 w 21703"/>
              <a:gd name="connsiteY12" fmla="*/ 21841 h 22453"/>
              <a:gd name="connsiteX13" fmla="*/ 7876 w 21703"/>
              <a:gd name="connsiteY13" fmla="*/ 21498 h 22453"/>
              <a:gd name="connsiteX14" fmla="*/ 7181 w 21703"/>
              <a:gd name="connsiteY14" fmla="*/ 21499 h 22453"/>
              <a:gd name="connsiteX15" fmla="*/ 4452 w 21703"/>
              <a:gd name="connsiteY15" fmla="*/ 22434 h 22453"/>
              <a:gd name="connsiteX16" fmla="*/ 3216 w 21703"/>
              <a:gd name="connsiteY16" fmla="*/ 22091 h 22453"/>
              <a:gd name="connsiteX17" fmla="*/ 2238 w 21703"/>
              <a:gd name="connsiteY17" fmla="*/ 22059 h 22453"/>
              <a:gd name="connsiteX18" fmla="*/ 1465 w 21703"/>
              <a:gd name="connsiteY18" fmla="*/ 21498 h 22453"/>
              <a:gd name="connsiteX19" fmla="*/ 770 w 21703"/>
              <a:gd name="connsiteY19" fmla="*/ 20593 h 22453"/>
              <a:gd name="connsiteX20" fmla="*/ 0 w 21703"/>
              <a:gd name="connsiteY20" fmla="*/ 20234 h 22453"/>
              <a:gd name="connsiteX21" fmla="*/ 0 w 21703"/>
              <a:gd name="connsiteY21" fmla="*/ 62 h 22453"/>
              <a:gd name="connsiteX0" fmla="*/ 0 w 21703"/>
              <a:gd name="connsiteY0" fmla="*/ 62 h 22453"/>
              <a:gd name="connsiteX1" fmla="*/ 21677 w 21703"/>
              <a:gd name="connsiteY1" fmla="*/ 0 h 22453"/>
              <a:gd name="connsiteX2" fmla="*/ 21703 w 21703"/>
              <a:gd name="connsiteY2" fmla="*/ 21888 h 22453"/>
              <a:gd name="connsiteX3" fmla="*/ 21074 w 21703"/>
              <a:gd name="connsiteY3" fmla="*/ 22008 h 22453"/>
              <a:gd name="connsiteX4" fmla="*/ 20165 w 21703"/>
              <a:gd name="connsiteY4" fmla="*/ 21966 h 22453"/>
              <a:gd name="connsiteX5" fmla="*/ 19025 w 21703"/>
              <a:gd name="connsiteY5" fmla="*/ 21623 h 22453"/>
              <a:gd name="connsiteX6" fmla="*/ 18012 w 21703"/>
              <a:gd name="connsiteY6" fmla="*/ 21498 h 22453"/>
              <a:gd name="connsiteX7" fmla="*/ 16295 w 21703"/>
              <a:gd name="connsiteY7" fmla="*/ 21373 h 22453"/>
              <a:gd name="connsiteX8" fmla="*/ 14527 w 21703"/>
              <a:gd name="connsiteY8" fmla="*/ 21061 h 22453"/>
              <a:gd name="connsiteX9" fmla="*/ 13206 w 21703"/>
              <a:gd name="connsiteY9" fmla="*/ 21341 h 22453"/>
              <a:gd name="connsiteX10" fmla="*/ 11867 w 21703"/>
              <a:gd name="connsiteY10" fmla="*/ 21966 h 22453"/>
              <a:gd name="connsiteX11" fmla="*/ 10836 w 21703"/>
              <a:gd name="connsiteY11" fmla="*/ 22122 h 22453"/>
              <a:gd name="connsiteX12" fmla="*/ 9472 w 21703"/>
              <a:gd name="connsiteY12" fmla="*/ 21841 h 22453"/>
              <a:gd name="connsiteX13" fmla="*/ 7876 w 21703"/>
              <a:gd name="connsiteY13" fmla="*/ 21498 h 22453"/>
              <a:gd name="connsiteX14" fmla="*/ 7181 w 21703"/>
              <a:gd name="connsiteY14" fmla="*/ 21499 h 22453"/>
              <a:gd name="connsiteX15" fmla="*/ 4452 w 21703"/>
              <a:gd name="connsiteY15" fmla="*/ 22434 h 22453"/>
              <a:gd name="connsiteX16" fmla="*/ 3216 w 21703"/>
              <a:gd name="connsiteY16" fmla="*/ 22091 h 22453"/>
              <a:gd name="connsiteX17" fmla="*/ 2238 w 21703"/>
              <a:gd name="connsiteY17" fmla="*/ 22059 h 22453"/>
              <a:gd name="connsiteX18" fmla="*/ 1465 w 21703"/>
              <a:gd name="connsiteY18" fmla="*/ 21498 h 22453"/>
              <a:gd name="connsiteX19" fmla="*/ 770 w 21703"/>
              <a:gd name="connsiteY19" fmla="*/ 20593 h 22453"/>
              <a:gd name="connsiteX20" fmla="*/ 0 w 21703"/>
              <a:gd name="connsiteY20" fmla="*/ 20234 h 22453"/>
              <a:gd name="connsiteX21" fmla="*/ 0 w 21703"/>
              <a:gd name="connsiteY21" fmla="*/ 62 h 22453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72 w 21703"/>
              <a:gd name="connsiteY12" fmla="*/ 21841 h 22452"/>
              <a:gd name="connsiteX13" fmla="*/ 7876 w 21703"/>
              <a:gd name="connsiteY13" fmla="*/ 21498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72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12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66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23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888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23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770 w 21703"/>
              <a:gd name="connsiteY19" fmla="*/ 20593 h 22452"/>
              <a:gd name="connsiteX20" fmla="*/ 0 w 21703"/>
              <a:gd name="connsiteY20" fmla="*/ 20314 h 22452"/>
              <a:gd name="connsiteX21" fmla="*/ 0 w 21703"/>
              <a:gd name="connsiteY21" fmla="*/ 62 h 22452"/>
              <a:gd name="connsiteX0" fmla="*/ 0 w 21703"/>
              <a:gd name="connsiteY0" fmla="*/ 62 h 22452"/>
              <a:gd name="connsiteX1" fmla="*/ 21677 w 21703"/>
              <a:gd name="connsiteY1" fmla="*/ 0 h 22452"/>
              <a:gd name="connsiteX2" fmla="*/ 21703 w 21703"/>
              <a:gd name="connsiteY2" fmla="*/ 21755 h 22452"/>
              <a:gd name="connsiteX3" fmla="*/ 21074 w 21703"/>
              <a:gd name="connsiteY3" fmla="*/ 22008 h 22452"/>
              <a:gd name="connsiteX4" fmla="*/ 20165 w 21703"/>
              <a:gd name="connsiteY4" fmla="*/ 21966 h 22452"/>
              <a:gd name="connsiteX5" fmla="*/ 19025 w 21703"/>
              <a:gd name="connsiteY5" fmla="*/ 21676 h 22452"/>
              <a:gd name="connsiteX6" fmla="*/ 18012 w 21703"/>
              <a:gd name="connsiteY6" fmla="*/ 21498 h 22452"/>
              <a:gd name="connsiteX7" fmla="*/ 16295 w 21703"/>
              <a:gd name="connsiteY7" fmla="*/ 21373 h 22452"/>
              <a:gd name="connsiteX8" fmla="*/ 14527 w 21703"/>
              <a:gd name="connsiteY8" fmla="*/ 21061 h 22452"/>
              <a:gd name="connsiteX9" fmla="*/ 13206 w 21703"/>
              <a:gd name="connsiteY9" fmla="*/ 21341 h 22452"/>
              <a:gd name="connsiteX10" fmla="*/ 11867 w 21703"/>
              <a:gd name="connsiteY10" fmla="*/ 21913 h 22452"/>
              <a:gd name="connsiteX11" fmla="*/ 10836 w 21703"/>
              <a:gd name="connsiteY11" fmla="*/ 22042 h 22452"/>
              <a:gd name="connsiteX12" fmla="*/ 9494 w 21703"/>
              <a:gd name="connsiteY12" fmla="*/ 21841 h 22452"/>
              <a:gd name="connsiteX13" fmla="*/ 8314 w 21703"/>
              <a:gd name="connsiteY13" fmla="*/ 21525 h 22452"/>
              <a:gd name="connsiteX14" fmla="*/ 7181 w 21703"/>
              <a:gd name="connsiteY14" fmla="*/ 21446 h 22452"/>
              <a:gd name="connsiteX15" fmla="*/ 4452 w 21703"/>
              <a:gd name="connsiteY15" fmla="*/ 22434 h 22452"/>
              <a:gd name="connsiteX16" fmla="*/ 3216 w 21703"/>
              <a:gd name="connsiteY16" fmla="*/ 22091 h 22452"/>
              <a:gd name="connsiteX17" fmla="*/ 2238 w 21703"/>
              <a:gd name="connsiteY17" fmla="*/ 22059 h 22452"/>
              <a:gd name="connsiteX18" fmla="*/ 1465 w 21703"/>
              <a:gd name="connsiteY18" fmla="*/ 21498 h 22452"/>
              <a:gd name="connsiteX19" fmla="*/ 638 w 21703"/>
              <a:gd name="connsiteY19" fmla="*/ 20433 h 22452"/>
              <a:gd name="connsiteX20" fmla="*/ 0 w 21703"/>
              <a:gd name="connsiteY20" fmla="*/ 20314 h 22452"/>
              <a:gd name="connsiteX21" fmla="*/ 0 w 21703"/>
              <a:gd name="connsiteY21" fmla="*/ 62 h 22452"/>
              <a:gd name="connsiteX0" fmla="*/ 0 w 21703"/>
              <a:gd name="connsiteY0" fmla="*/ 62 h 22348"/>
              <a:gd name="connsiteX1" fmla="*/ 21677 w 21703"/>
              <a:gd name="connsiteY1" fmla="*/ 0 h 22348"/>
              <a:gd name="connsiteX2" fmla="*/ 21703 w 21703"/>
              <a:gd name="connsiteY2" fmla="*/ 21755 h 22348"/>
              <a:gd name="connsiteX3" fmla="*/ 21074 w 21703"/>
              <a:gd name="connsiteY3" fmla="*/ 22008 h 22348"/>
              <a:gd name="connsiteX4" fmla="*/ 20165 w 21703"/>
              <a:gd name="connsiteY4" fmla="*/ 21966 h 22348"/>
              <a:gd name="connsiteX5" fmla="*/ 19025 w 21703"/>
              <a:gd name="connsiteY5" fmla="*/ 21676 h 22348"/>
              <a:gd name="connsiteX6" fmla="*/ 18012 w 21703"/>
              <a:gd name="connsiteY6" fmla="*/ 21498 h 22348"/>
              <a:gd name="connsiteX7" fmla="*/ 16295 w 21703"/>
              <a:gd name="connsiteY7" fmla="*/ 21373 h 22348"/>
              <a:gd name="connsiteX8" fmla="*/ 14527 w 21703"/>
              <a:gd name="connsiteY8" fmla="*/ 21061 h 22348"/>
              <a:gd name="connsiteX9" fmla="*/ 13206 w 21703"/>
              <a:gd name="connsiteY9" fmla="*/ 21341 h 22348"/>
              <a:gd name="connsiteX10" fmla="*/ 11867 w 21703"/>
              <a:gd name="connsiteY10" fmla="*/ 21913 h 22348"/>
              <a:gd name="connsiteX11" fmla="*/ 10836 w 21703"/>
              <a:gd name="connsiteY11" fmla="*/ 22042 h 22348"/>
              <a:gd name="connsiteX12" fmla="*/ 9494 w 21703"/>
              <a:gd name="connsiteY12" fmla="*/ 21841 h 22348"/>
              <a:gd name="connsiteX13" fmla="*/ 8314 w 21703"/>
              <a:gd name="connsiteY13" fmla="*/ 21525 h 22348"/>
              <a:gd name="connsiteX14" fmla="*/ 7181 w 21703"/>
              <a:gd name="connsiteY14" fmla="*/ 21446 h 22348"/>
              <a:gd name="connsiteX15" fmla="*/ 4627 w 21703"/>
              <a:gd name="connsiteY15" fmla="*/ 22328 h 22348"/>
              <a:gd name="connsiteX16" fmla="*/ 3216 w 21703"/>
              <a:gd name="connsiteY16" fmla="*/ 22091 h 22348"/>
              <a:gd name="connsiteX17" fmla="*/ 2238 w 21703"/>
              <a:gd name="connsiteY17" fmla="*/ 22059 h 22348"/>
              <a:gd name="connsiteX18" fmla="*/ 1465 w 21703"/>
              <a:gd name="connsiteY18" fmla="*/ 21498 h 22348"/>
              <a:gd name="connsiteX19" fmla="*/ 638 w 21703"/>
              <a:gd name="connsiteY19" fmla="*/ 20433 h 22348"/>
              <a:gd name="connsiteX20" fmla="*/ 0 w 21703"/>
              <a:gd name="connsiteY20" fmla="*/ 20314 h 22348"/>
              <a:gd name="connsiteX21" fmla="*/ 0 w 21703"/>
              <a:gd name="connsiteY21" fmla="*/ 62 h 22348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836 w 21703"/>
              <a:gd name="connsiteY11" fmla="*/ 22042 h 22427"/>
              <a:gd name="connsiteX12" fmla="*/ 9494 w 21703"/>
              <a:gd name="connsiteY12" fmla="*/ 21841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836 w 21703"/>
              <a:gd name="connsiteY11" fmla="*/ 22042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206 w 21703"/>
              <a:gd name="connsiteY9" fmla="*/ 21341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295 w 21703"/>
              <a:gd name="connsiteY7" fmla="*/ 21373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498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755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03"/>
              <a:gd name="connsiteY0" fmla="*/ 62 h 22427"/>
              <a:gd name="connsiteX1" fmla="*/ 21677 w 21703"/>
              <a:gd name="connsiteY1" fmla="*/ 0 h 22427"/>
              <a:gd name="connsiteX2" fmla="*/ 21703 w 21703"/>
              <a:gd name="connsiteY2" fmla="*/ 21893 h 22427"/>
              <a:gd name="connsiteX3" fmla="*/ 21074 w 21703"/>
              <a:gd name="connsiteY3" fmla="*/ 22008 h 22427"/>
              <a:gd name="connsiteX4" fmla="*/ 20165 w 21703"/>
              <a:gd name="connsiteY4" fmla="*/ 21966 h 22427"/>
              <a:gd name="connsiteX5" fmla="*/ 19025 w 21703"/>
              <a:gd name="connsiteY5" fmla="*/ 21676 h 22427"/>
              <a:gd name="connsiteX6" fmla="*/ 18012 w 21703"/>
              <a:gd name="connsiteY6" fmla="*/ 21525 h 22427"/>
              <a:gd name="connsiteX7" fmla="*/ 16120 w 21703"/>
              <a:gd name="connsiteY7" fmla="*/ 21320 h 22427"/>
              <a:gd name="connsiteX8" fmla="*/ 14527 w 21703"/>
              <a:gd name="connsiteY8" fmla="*/ 21061 h 22427"/>
              <a:gd name="connsiteX9" fmla="*/ 13403 w 21703"/>
              <a:gd name="connsiteY9" fmla="*/ 21208 h 22427"/>
              <a:gd name="connsiteX10" fmla="*/ 11867 w 21703"/>
              <a:gd name="connsiteY10" fmla="*/ 21913 h 22427"/>
              <a:gd name="connsiteX11" fmla="*/ 10770 w 21703"/>
              <a:gd name="connsiteY11" fmla="*/ 22015 h 22427"/>
              <a:gd name="connsiteX12" fmla="*/ 9516 w 21703"/>
              <a:gd name="connsiteY12" fmla="*/ 21788 h 22427"/>
              <a:gd name="connsiteX13" fmla="*/ 8314 w 21703"/>
              <a:gd name="connsiteY13" fmla="*/ 21525 h 22427"/>
              <a:gd name="connsiteX14" fmla="*/ 7181 w 21703"/>
              <a:gd name="connsiteY14" fmla="*/ 21446 h 22427"/>
              <a:gd name="connsiteX15" fmla="*/ 4430 w 21703"/>
              <a:gd name="connsiteY15" fmla="*/ 22408 h 22427"/>
              <a:gd name="connsiteX16" fmla="*/ 3216 w 21703"/>
              <a:gd name="connsiteY16" fmla="*/ 22091 h 22427"/>
              <a:gd name="connsiteX17" fmla="*/ 2238 w 21703"/>
              <a:gd name="connsiteY17" fmla="*/ 22059 h 22427"/>
              <a:gd name="connsiteX18" fmla="*/ 1465 w 21703"/>
              <a:gd name="connsiteY18" fmla="*/ 21498 h 22427"/>
              <a:gd name="connsiteX19" fmla="*/ 638 w 21703"/>
              <a:gd name="connsiteY19" fmla="*/ 20433 h 22427"/>
              <a:gd name="connsiteX20" fmla="*/ 0 w 21703"/>
              <a:gd name="connsiteY20" fmla="*/ 20314 h 22427"/>
              <a:gd name="connsiteX21" fmla="*/ 0 w 21703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4527 w 21736"/>
              <a:gd name="connsiteY8" fmla="*/ 21061 h 22427"/>
              <a:gd name="connsiteX9" fmla="*/ 13403 w 21736"/>
              <a:gd name="connsiteY9" fmla="*/ 21208 h 22427"/>
              <a:gd name="connsiteX10" fmla="*/ 11867 w 21736"/>
              <a:gd name="connsiteY10" fmla="*/ 21913 h 22427"/>
              <a:gd name="connsiteX11" fmla="*/ 10770 w 21736"/>
              <a:gd name="connsiteY11" fmla="*/ 22015 h 22427"/>
              <a:gd name="connsiteX12" fmla="*/ 9516 w 21736"/>
              <a:gd name="connsiteY12" fmla="*/ 21788 h 22427"/>
              <a:gd name="connsiteX13" fmla="*/ 8314 w 21736"/>
              <a:gd name="connsiteY13" fmla="*/ 21525 h 22427"/>
              <a:gd name="connsiteX14" fmla="*/ 7181 w 21736"/>
              <a:gd name="connsiteY14" fmla="*/ 21446 h 22427"/>
              <a:gd name="connsiteX15" fmla="*/ 4430 w 21736"/>
              <a:gd name="connsiteY15" fmla="*/ 22408 h 22427"/>
              <a:gd name="connsiteX16" fmla="*/ 3216 w 21736"/>
              <a:gd name="connsiteY16" fmla="*/ 22091 h 22427"/>
              <a:gd name="connsiteX17" fmla="*/ 2238 w 21736"/>
              <a:gd name="connsiteY17" fmla="*/ 22059 h 22427"/>
              <a:gd name="connsiteX18" fmla="*/ 1465 w 21736"/>
              <a:gd name="connsiteY18" fmla="*/ 21498 h 22427"/>
              <a:gd name="connsiteX19" fmla="*/ 638 w 21736"/>
              <a:gd name="connsiteY19" fmla="*/ 20433 h 22427"/>
              <a:gd name="connsiteX20" fmla="*/ 0 w 21736"/>
              <a:gd name="connsiteY20" fmla="*/ 20314 h 22427"/>
              <a:gd name="connsiteX21" fmla="*/ 0 w 21736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4527 w 21736"/>
              <a:gd name="connsiteY8" fmla="*/ 21061 h 22427"/>
              <a:gd name="connsiteX9" fmla="*/ 13403 w 21736"/>
              <a:gd name="connsiteY9" fmla="*/ 21208 h 22427"/>
              <a:gd name="connsiteX10" fmla="*/ 11867 w 21736"/>
              <a:gd name="connsiteY10" fmla="*/ 21913 h 22427"/>
              <a:gd name="connsiteX11" fmla="*/ 10770 w 21736"/>
              <a:gd name="connsiteY11" fmla="*/ 22015 h 22427"/>
              <a:gd name="connsiteX12" fmla="*/ 9516 w 21736"/>
              <a:gd name="connsiteY12" fmla="*/ 21788 h 22427"/>
              <a:gd name="connsiteX13" fmla="*/ 8314 w 21736"/>
              <a:gd name="connsiteY13" fmla="*/ 21525 h 22427"/>
              <a:gd name="connsiteX14" fmla="*/ 7181 w 21736"/>
              <a:gd name="connsiteY14" fmla="*/ 21446 h 22427"/>
              <a:gd name="connsiteX15" fmla="*/ 4430 w 21736"/>
              <a:gd name="connsiteY15" fmla="*/ 22408 h 22427"/>
              <a:gd name="connsiteX16" fmla="*/ 3216 w 21736"/>
              <a:gd name="connsiteY16" fmla="*/ 22091 h 22427"/>
              <a:gd name="connsiteX17" fmla="*/ 2238 w 21736"/>
              <a:gd name="connsiteY17" fmla="*/ 22059 h 22427"/>
              <a:gd name="connsiteX18" fmla="*/ 1465 w 21736"/>
              <a:gd name="connsiteY18" fmla="*/ 21498 h 22427"/>
              <a:gd name="connsiteX19" fmla="*/ 638 w 21736"/>
              <a:gd name="connsiteY19" fmla="*/ 20433 h 22427"/>
              <a:gd name="connsiteX20" fmla="*/ 0 w 21736"/>
              <a:gd name="connsiteY20" fmla="*/ 20314 h 22427"/>
              <a:gd name="connsiteX21" fmla="*/ 0 w 21736"/>
              <a:gd name="connsiteY21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20 w 21736"/>
              <a:gd name="connsiteY7" fmla="*/ 21320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67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8012 w 21736"/>
              <a:gd name="connsiteY6" fmla="*/ 21525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0770 w 21736"/>
              <a:gd name="connsiteY12" fmla="*/ 22015 h 22427"/>
              <a:gd name="connsiteX13" fmla="*/ 9516 w 21736"/>
              <a:gd name="connsiteY13" fmla="*/ 21788 h 22427"/>
              <a:gd name="connsiteX14" fmla="*/ 8314 w 21736"/>
              <a:gd name="connsiteY14" fmla="*/ 21525 h 22427"/>
              <a:gd name="connsiteX15" fmla="*/ 7181 w 21736"/>
              <a:gd name="connsiteY15" fmla="*/ 21446 h 22427"/>
              <a:gd name="connsiteX16" fmla="*/ 4430 w 21736"/>
              <a:gd name="connsiteY16" fmla="*/ 22408 h 22427"/>
              <a:gd name="connsiteX17" fmla="*/ 3216 w 21736"/>
              <a:gd name="connsiteY17" fmla="*/ 22091 h 22427"/>
              <a:gd name="connsiteX18" fmla="*/ 2238 w 21736"/>
              <a:gd name="connsiteY18" fmla="*/ 22059 h 22427"/>
              <a:gd name="connsiteX19" fmla="*/ 1465 w 21736"/>
              <a:gd name="connsiteY19" fmla="*/ 21498 h 22427"/>
              <a:gd name="connsiteX20" fmla="*/ 638 w 21736"/>
              <a:gd name="connsiteY20" fmla="*/ 20433 h 22427"/>
              <a:gd name="connsiteX21" fmla="*/ 0 w 21736"/>
              <a:gd name="connsiteY21" fmla="*/ 20314 h 22427"/>
              <a:gd name="connsiteX22" fmla="*/ 0 w 21736"/>
              <a:gd name="connsiteY22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337 w 21736"/>
              <a:gd name="connsiteY12" fmla="*/ 21997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1867 w 21736"/>
              <a:gd name="connsiteY11" fmla="*/ 21913 h 22427"/>
              <a:gd name="connsiteX12" fmla="*/ 11271 w 21736"/>
              <a:gd name="connsiteY12" fmla="*/ 22010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70 w 21736"/>
              <a:gd name="connsiteY13" fmla="*/ 22015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314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238 w 21736"/>
              <a:gd name="connsiteY19" fmla="*/ 2205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216 w 21736"/>
              <a:gd name="connsiteY18" fmla="*/ 2209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33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0 w 21736"/>
              <a:gd name="connsiteY22" fmla="*/ 20247 h 22427"/>
              <a:gd name="connsiteX23" fmla="*/ 0 w 21736"/>
              <a:gd name="connsiteY23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638 w 21736"/>
              <a:gd name="connsiteY21" fmla="*/ 2048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47 h 22427"/>
              <a:gd name="connsiteX24" fmla="*/ 0 w 21736"/>
              <a:gd name="connsiteY24" fmla="*/ 62 h 22427"/>
              <a:gd name="connsiteX0" fmla="*/ 0 w 21736"/>
              <a:gd name="connsiteY0" fmla="*/ 62 h 22427"/>
              <a:gd name="connsiteX1" fmla="*/ 21677 w 21736"/>
              <a:gd name="connsiteY1" fmla="*/ 0 h 22427"/>
              <a:gd name="connsiteX2" fmla="*/ 21736 w 21736"/>
              <a:gd name="connsiteY2" fmla="*/ 21826 h 22427"/>
              <a:gd name="connsiteX3" fmla="*/ 21074 w 21736"/>
              <a:gd name="connsiteY3" fmla="*/ 22008 h 22427"/>
              <a:gd name="connsiteX4" fmla="*/ 20165 w 21736"/>
              <a:gd name="connsiteY4" fmla="*/ 21966 h 22427"/>
              <a:gd name="connsiteX5" fmla="*/ 19025 w 21736"/>
              <a:gd name="connsiteY5" fmla="*/ 21676 h 22427"/>
              <a:gd name="connsiteX6" fmla="*/ 17880 w 21736"/>
              <a:gd name="connsiteY6" fmla="*/ 21472 h 22427"/>
              <a:gd name="connsiteX7" fmla="*/ 16197 w 21736"/>
              <a:gd name="connsiteY7" fmla="*/ 21294 h 22427"/>
              <a:gd name="connsiteX8" fmla="*/ 15455 w 21736"/>
              <a:gd name="connsiteY8" fmla="*/ 21132 h 22427"/>
              <a:gd name="connsiteX9" fmla="*/ 14527 w 21736"/>
              <a:gd name="connsiteY9" fmla="*/ 21061 h 22427"/>
              <a:gd name="connsiteX10" fmla="*/ 13403 w 21736"/>
              <a:gd name="connsiteY10" fmla="*/ 21208 h 22427"/>
              <a:gd name="connsiteX11" fmla="*/ 12065 w 21736"/>
              <a:gd name="connsiteY11" fmla="*/ 21833 h 22427"/>
              <a:gd name="connsiteX12" fmla="*/ 11271 w 21736"/>
              <a:gd name="connsiteY12" fmla="*/ 22010 h 22427"/>
              <a:gd name="connsiteX13" fmla="*/ 10715 w 21736"/>
              <a:gd name="connsiteY13" fmla="*/ 21962 h 22427"/>
              <a:gd name="connsiteX14" fmla="*/ 9516 w 21736"/>
              <a:gd name="connsiteY14" fmla="*/ 21788 h 22427"/>
              <a:gd name="connsiteX15" fmla="*/ 8314 w 21736"/>
              <a:gd name="connsiteY15" fmla="*/ 21525 h 22427"/>
              <a:gd name="connsiteX16" fmla="*/ 7181 w 21736"/>
              <a:gd name="connsiteY16" fmla="*/ 21446 h 22427"/>
              <a:gd name="connsiteX17" fmla="*/ 4430 w 21736"/>
              <a:gd name="connsiteY17" fmla="*/ 22408 h 22427"/>
              <a:gd name="connsiteX18" fmla="*/ 3458 w 21736"/>
              <a:gd name="connsiteY18" fmla="*/ 22131 h 22427"/>
              <a:gd name="connsiteX19" fmla="*/ 2194 w 21736"/>
              <a:gd name="connsiteY19" fmla="*/ 21979 h 22427"/>
              <a:gd name="connsiteX20" fmla="*/ 1465 w 21736"/>
              <a:gd name="connsiteY20" fmla="*/ 21498 h 22427"/>
              <a:gd name="connsiteX21" fmla="*/ 880 w 21736"/>
              <a:gd name="connsiteY21" fmla="*/ 20646 h 22427"/>
              <a:gd name="connsiteX22" fmla="*/ 346 w 21736"/>
              <a:gd name="connsiteY22" fmla="*/ 20334 h 22427"/>
              <a:gd name="connsiteX23" fmla="*/ 0 w 21736"/>
              <a:gd name="connsiteY23" fmla="*/ 20288 h 22427"/>
              <a:gd name="connsiteX24" fmla="*/ 0 w 21736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826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769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  <a:gd name="connsiteX0" fmla="*/ 0 w 21751"/>
              <a:gd name="connsiteY0" fmla="*/ 62 h 22427"/>
              <a:gd name="connsiteX1" fmla="*/ 21747 w 21751"/>
              <a:gd name="connsiteY1" fmla="*/ 0 h 22427"/>
              <a:gd name="connsiteX2" fmla="*/ 21736 w 21751"/>
              <a:gd name="connsiteY2" fmla="*/ 21834 h 22427"/>
              <a:gd name="connsiteX3" fmla="*/ 21074 w 21751"/>
              <a:gd name="connsiteY3" fmla="*/ 22008 h 22427"/>
              <a:gd name="connsiteX4" fmla="*/ 20165 w 21751"/>
              <a:gd name="connsiteY4" fmla="*/ 21966 h 22427"/>
              <a:gd name="connsiteX5" fmla="*/ 19025 w 21751"/>
              <a:gd name="connsiteY5" fmla="*/ 21676 h 22427"/>
              <a:gd name="connsiteX6" fmla="*/ 17880 w 21751"/>
              <a:gd name="connsiteY6" fmla="*/ 21472 h 22427"/>
              <a:gd name="connsiteX7" fmla="*/ 16197 w 21751"/>
              <a:gd name="connsiteY7" fmla="*/ 21294 h 22427"/>
              <a:gd name="connsiteX8" fmla="*/ 15455 w 21751"/>
              <a:gd name="connsiteY8" fmla="*/ 21132 h 22427"/>
              <a:gd name="connsiteX9" fmla="*/ 14527 w 21751"/>
              <a:gd name="connsiteY9" fmla="*/ 21061 h 22427"/>
              <a:gd name="connsiteX10" fmla="*/ 13403 w 21751"/>
              <a:gd name="connsiteY10" fmla="*/ 21208 h 22427"/>
              <a:gd name="connsiteX11" fmla="*/ 12065 w 21751"/>
              <a:gd name="connsiteY11" fmla="*/ 21833 h 22427"/>
              <a:gd name="connsiteX12" fmla="*/ 11271 w 21751"/>
              <a:gd name="connsiteY12" fmla="*/ 22010 h 22427"/>
              <a:gd name="connsiteX13" fmla="*/ 10715 w 21751"/>
              <a:gd name="connsiteY13" fmla="*/ 21962 h 22427"/>
              <a:gd name="connsiteX14" fmla="*/ 9516 w 21751"/>
              <a:gd name="connsiteY14" fmla="*/ 21788 h 22427"/>
              <a:gd name="connsiteX15" fmla="*/ 8314 w 21751"/>
              <a:gd name="connsiteY15" fmla="*/ 21525 h 22427"/>
              <a:gd name="connsiteX16" fmla="*/ 7181 w 21751"/>
              <a:gd name="connsiteY16" fmla="*/ 21446 h 22427"/>
              <a:gd name="connsiteX17" fmla="*/ 4430 w 21751"/>
              <a:gd name="connsiteY17" fmla="*/ 22408 h 22427"/>
              <a:gd name="connsiteX18" fmla="*/ 3458 w 21751"/>
              <a:gd name="connsiteY18" fmla="*/ 22131 h 22427"/>
              <a:gd name="connsiteX19" fmla="*/ 2194 w 21751"/>
              <a:gd name="connsiteY19" fmla="*/ 21979 h 22427"/>
              <a:gd name="connsiteX20" fmla="*/ 1465 w 21751"/>
              <a:gd name="connsiteY20" fmla="*/ 21498 h 22427"/>
              <a:gd name="connsiteX21" fmla="*/ 880 w 21751"/>
              <a:gd name="connsiteY21" fmla="*/ 20646 h 22427"/>
              <a:gd name="connsiteX22" fmla="*/ 346 w 21751"/>
              <a:gd name="connsiteY22" fmla="*/ 20334 h 22427"/>
              <a:gd name="connsiteX23" fmla="*/ 0 w 21751"/>
              <a:gd name="connsiteY23" fmla="*/ 20288 h 22427"/>
              <a:gd name="connsiteX24" fmla="*/ 0 w 21751"/>
              <a:gd name="connsiteY24" fmla="*/ 62 h 22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1751" h="22427">
                <a:moveTo>
                  <a:pt x="0" y="62"/>
                </a:moveTo>
                <a:lnTo>
                  <a:pt x="21747" y="0"/>
                </a:lnTo>
                <a:cubicBezTo>
                  <a:pt x="21767" y="7275"/>
                  <a:pt x="21716" y="14559"/>
                  <a:pt x="21736" y="21834"/>
                </a:cubicBezTo>
                <a:lnTo>
                  <a:pt x="21074" y="22008"/>
                </a:lnTo>
                <a:cubicBezTo>
                  <a:pt x="20818" y="22036"/>
                  <a:pt x="20495" y="22013"/>
                  <a:pt x="20165" y="21966"/>
                </a:cubicBezTo>
                <a:cubicBezTo>
                  <a:pt x="19785" y="21893"/>
                  <a:pt x="19405" y="21749"/>
                  <a:pt x="19025" y="21676"/>
                </a:cubicBezTo>
                <a:lnTo>
                  <a:pt x="17880" y="21472"/>
                </a:lnTo>
                <a:cubicBezTo>
                  <a:pt x="17198" y="21448"/>
                  <a:pt x="17109" y="21477"/>
                  <a:pt x="16197" y="21294"/>
                </a:cubicBezTo>
                <a:cubicBezTo>
                  <a:pt x="15771" y="21238"/>
                  <a:pt x="15720" y="21175"/>
                  <a:pt x="15455" y="21132"/>
                </a:cubicBezTo>
                <a:cubicBezTo>
                  <a:pt x="15190" y="21089"/>
                  <a:pt x="14869" y="21057"/>
                  <a:pt x="14527" y="21061"/>
                </a:cubicBezTo>
                <a:cubicBezTo>
                  <a:pt x="13662" y="21087"/>
                  <a:pt x="14001" y="21073"/>
                  <a:pt x="13403" y="21208"/>
                </a:cubicBezTo>
                <a:cubicBezTo>
                  <a:pt x="13068" y="21281"/>
                  <a:pt x="12400" y="21760"/>
                  <a:pt x="12065" y="21833"/>
                </a:cubicBezTo>
                <a:cubicBezTo>
                  <a:pt x="11721" y="21965"/>
                  <a:pt x="11454" y="21993"/>
                  <a:pt x="11271" y="22010"/>
                </a:cubicBezTo>
                <a:cubicBezTo>
                  <a:pt x="11088" y="22027"/>
                  <a:pt x="11018" y="21997"/>
                  <a:pt x="10715" y="21962"/>
                </a:cubicBezTo>
                <a:cubicBezTo>
                  <a:pt x="10316" y="21936"/>
                  <a:pt x="10027" y="21866"/>
                  <a:pt x="9516" y="21788"/>
                </a:cubicBezTo>
                <a:cubicBezTo>
                  <a:pt x="9006" y="21710"/>
                  <a:pt x="8696" y="21577"/>
                  <a:pt x="8314" y="21525"/>
                </a:cubicBezTo>
                <a:cubicBezTo>
                  <a:pt x="7932" y="21473"/>
                  <a:pt x="7747" y="21337"/>
                  <a:pt x="7181" y="21446"/>
                </a:cubicBezTo>
                <a:cubicBezTo>
                  <a:pt x="6108" y="21446"/>
                  <a:pt x="5648" y="22587"/>
                  <a:pt x="4430" y="22408"/>
                </a:cubicBezTo>
                <a:lnTo>
                  <a:pt x="3458" y="22131"/>
                </a:lnTo>
                <a:lnTo>
                  <a:pt x="2194" y="21979"/>
                </a:lnTo>
                <a:cubicBezTo>
                  <a:pt x="1709" y="21802"/>
                  <a:pt x="1714" y="21737"/>
                  <a:pt x="1465" y="21498"/>
                </a:cubicBezTo>
                <a:cubicBezTo>
                  <a:pt x="1216" y="21259"/>
                  <a:pt x="1068" y="20835"/>
                  <a:pt x="880" y="20646"/>
                </a:cubicBezTo>
                <a:cubicBezTo>
                  <a:pt x="693" y="20452"/>
                  <a:pt x="493" y="20401"/>
                  <a:pt x="346" y="20334"/>
                </a:cubicBezTo>
                <a:lnTo>
                  <a:pt x="0" y="20288"/>
                </a:lnTo>
                <a:lnTo>
                  <a:pt x="0" y="62"/>
                </a:lnTo>
                <a:close/>
              </a:path>
            </a:pathLst>
          </a:custGeo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A827F49-2543-4B47-9154-FBD937A47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30497" y="1264024"/>
            <a:ext cx="4494129" cy="609600"/>
          </a:xfrm>
        </p:spPr>
        <p:txBody>
          <a:bodyPr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14" name="Pladsholder til tekst 4">
            <a:extLst>
              <a:ext uri="{FF2B5EF4-FFF2-40B4-BE49-F238E27FC236}">
                <a16:creationId xmlns:a16="http://schemas.microsoft.com/office/drawing/2014/main" id="{FA533A8C-0106-46EA-8AAF-56869AE65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30496" y="1990165"/>
            <a:ext cx="4494130" cy="3774141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873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7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6EC7B464-B280-4821-B4B2-E85BE9BC2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19825" y="2169459"/>
            <a:ext cx="8470269" cy="674541"/>
          </a:xfrm>
        </p:spPr>
        <p:txBody>
          <a:bodyPr tIns="468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9D1E83-42E7-47EB-A58D-5512AA4ECC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19826" y="3056965"/>
            <a:ext cx="8470268" cy="2958353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5717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8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AA827F49-2543-4B47-9154-FBD937A47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0686" y="1272988"/>
            <a:ext cx="5584232" cy="645459"/>
          </a:xfrm>
        </p:spPr>
        <p:txBody>
          <a:bodyPr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7" name="Pladsholder til tekst 4">
            <a:extLst>
              <a:ext uri="{FF2B5EF4-FFF2-40B4-BE49-F238E27FC236}">
                <a16:creationId xmlns:a16="http://schemas.microsoft.com/office/drawing/2014/main" id="{FA533A8C-0106-46EA-8AAF-56869AE65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0686" y="1990165"/>
            <a:ext cx="5584232" cy="4177554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09335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9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0D5F5DBE-19F4-4E1B-BB7A-841203137F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91974" y="0"/>
            <a:ext cx="4700026" cy="534334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2"/>
              <a:gd name="connsiteX1" fmla="*/ 10000 w 10000"/>
              <a:gd name="connsiteY1" fmla="*/ 0 h 10002"/>
              <a:gd name="connsiteX2" fmla="*/ 10000 w 10000"/>
              <a:gd name="connsiteY2" fmla="*/ 10000 h 10002"/>
              <a:gd name="connsiteX3" fmla="*/ 8398 w 10000"/>
              <a:gd name="connsiteY3" fmla="*/ 10002 h 10002"/>
              <a:gd name="connsiteX4" fmla="*/ 0 w 10000"/>
              <a:gd name="connsiteY4" fmla="*/ 10000 h 10002"/>
              <a:gd name="connsiteX5" fmla="*/ 0 w 10000"/>
              <a:gd name="connsiteY5" fmla="*/ 0 h 10002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8445 w 10000"/>
              <a:gd name="connsiteY3" fmla="*/ 9268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8945 w 10000"/>
              <a:gd name="connsiteY3" fmla="*/ 9597 h 10000"/>
              <a:gd name="connsiteX4" fmla="*/ 8445 w 10000"/>
              <a:gd name="connsiteY4" fmla="*/ 9268 h 10000"/>
              <a:gd name="connsiteX5" fmla="*/ 0 w 10000"/>
              <a:gd name="connsiteY5" fmla="*/ 10000 h 10000"/>
              <a:gd name="connsiteX6" fmla="*/ 0 w 10000"/>
              <a:gd name="connsiteY6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8945 w 10008"/>
              <a:gd name="connsiteY3" fmla="*/ 9597 h 10000"/>
              <a:gd name="connsiteX4" fmla="*/ 8445 w 10008"/>
              <a:gd name="connsiteY4" fmla="*/ 9268 h 10000"/>
              <a:gd name="connsiteX5" fmla="*/ 0 w 10008"/>
              <a:gd name="connsiteY5" fmla="*/ 10000 h 10000"/>
              <a:gd name="connsiteX6" fmla="*/ 0 w 10008"/>
              <a:gd name="connsiteY6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8945 w 10008"/>
              <a:gd name="connsiteY3" fmla="*/ 9597 h 10000"/>
              <a:gd name="connsiteX4" fmla="*/ 8445 w 10008"/>
              <a:gd name="connsiteY4" fmla="*/ 9268 h 10000"/>
              <a:gd name="connsiteX5" fmla="*/ 0 w 10008"/>
              <a:gd name="connsiteY5" fmla="*/ 10000 h 10000"/>
              <a:gd name="connsiteX6" fmla="*/ 0 w 10008"/>
              <a:gd name="connsiteY6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0 w 10008"/>
              <a:gd name="connsiteY5" fmla="*/ 10000 h 10000"/>
              <a:gd name="connsiteX6" fmla="*/ 0 w 10008"/>
              <a:gd name="connsiteY6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6984 w 10008"/>
              <a:gd name="connsiteY5" fmla="*/ 9385 h 10000"/>
              <a:gd name="connsiteX6" fmla="*/ 0 w 10008"/>
              <a:gd name="connsiteY6" fmla="*/ 10000 h 10000"/>
              <a:gd name="connsiteX7" fmla="*/ 0 w 10008"/>
              <a:gd name="connsiteY7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0 w 10008"/>
              <a:gd name="connsiteY6" fmla="*/ 10000 h 10000"/>
              <a:gd name="connsiteX7" fmla="*/ 0 w 10008"/>
              <a:gd name="connsiteY7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21 w 10008"/>
              <a:gd name="connsiteY6" fmla="*/ 9927 h 10000"/>
              <a:gd name="connsiteX7" fmla="*/ 0 w 10008"/>
              <a:gd name="connsiteY7" fmla="*/ 10000 h 10000"/>
              <a:gd name="connsiteX8" fmla="*/ 0 w 10008"/>
              <a:gd name="connsiteY8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0 w 10008"/>
              <a:gd name="connsiteY7" fmla="*/ 10000 h 10000"/>
              <a:gd name="connsiteX8" fmla="*/ 0 w 10008"/>
              <a:gd name="connsiteY8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0 w 10008"/>
              <a:gd name="connsiteY8" fmla="*/ 10000 h 10000"/>
              <a:gd name="connsiteX9" fmla="*/ 0 w 10008"/>
              <a:gd name="connsiteY9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0 w 10008"/>
              <a:gd name="connsiteY8" fmla="*/ 10000 h 10000"/>
              <a:gd name="connsiteX9" fmla="*/ 0 w 10008"/>
              <a:gd name="connsiteY9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0 w 10008"/>
              <a:gd name="connsiteY9" fmla="*/ 10000 h 10000"/>
              <a:gd name="connsiteX10" fmla="*/ 0 w 10008"/>
              <a:gd name="connsiteY10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0 w 10008"/>
              <a:gd name="connsiteY9" fmla="*/ 10000 h 10000"/>
              <a:gd name="connsiteX10" fmla="*/ 0 w 10008"/>
              <a:gd name="connsiteY10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2241 w 10008"/>
              <a:gd name="connsiteY9" fmla="*/ 9899 h 10000"/>
              <a:gd name="connsiteX10" fmla="*/ 0 w 10008"/>
              <a:gd name="connsiteY10" fmla="*/ 10000 h 10000"/>
              <a:gd name="connsiteX11" fmla="*/ 0 w 10008"/>
              <a:gd name="connsiteY11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2436 w 10008"/>
              <a:gd name="connsiteY9" fmla="*/ 9227 h 10000"/>
              <a:gd name="connsiteX10" fmla="*/ 0 w 10008"/>
              <a:gd name="connsiteY10" fmla="*/ 10000 h 10000"/>
              <a:gd name="connsiteX11" fmla="*/ 0 w 10008"/>
              <a:gd name="connsiteY11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2436 w 10008"/>
              <a:gd name="connsiteY9" fmla="*/ 9227 h 10000"/>
              <a:gd name="connsiteX10" fmla="*/ 1062 w 10008"/>
              <a:gd name="connsiteY10" fmla="*/ 8918 h 10000"/>
              <a:gd name="connsiteX11" fmla="*/ 0 w 10008"/>
              <a:gd name="connsiteY11" fmla="*/ 10000 h 10000"/>
              <a:gd name="connsiteX12" fmla="*/ 0 w 10008"/>
              <a:gd name="connsiteY12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2436 w 10008"/>
              <a:gd name="connsiteY9" fmla="*/ 9227 h 10000"/>
              <a:gd name="connsiteX10" fmla="*/ 1062 w 10008"/>
              <a:gd name="connsiteY10" fmla="*/ 8918 h 10000"/>
              <a:gd name="connsiteX11" fmla="*/ 0 w 10008"/>
              <a:gd name="connsiteY11" fmla="*/ 10000 h 10000"/>
              <a:gd name="connsiteX12" fmla="*/ 0 w 10008"/>
              <a:gd name="connsiteY12" fmla="*/ 0 h 10000"/>
              <a:gd name="connsiteX0" fmla="*/ 0 w 10008"/>
              <a:gd name="connsiteY0" fmla="*/ 0 h 10000"/>
              <a:gd name="connsiteX1" fmla="*/ 10000 w 10008"/>
              <a:gd name="connsiteY1" fmla="*/ 0 h 10000"/>
              <a:gd name="connsiteX2" fmla="*/ 10008 w 10008"/>
              <a:gd name="connsiteY2" fmla="*/ 9904 h 10000"/>
              <a:gd name="connsiteX3" fmla="*/ 9125 w 10008"/>
              <a:gd name="connsiteY3" fmla="*/ 9720 h 10000"/>
              <a:gd name="connsiteX4" fmla="*/ 8445 w 10008"/>
              <a:gd name="connsiteY4" fmla="*/ 9268 h 10000"/>
              <a:gd name="connsiteX5" fmla="*/ 7117 w 10008"/>
              <a:gd name="connsiteY5" fmla="*/ 9934 h 10000"/>
              <a:gd name="connsiteX6" fmla="*/ 5937 w 10008"/>
              <a:gd name="connsiteY6" fmla="*/ 9467 h 10000"/>
              <a:gd name="connsiteX7" fmla="*/ 4468 w 10008"/>
              <a:gd name="connsiteY7" fmla="*/ 9529 h 10000"/>
              <a:gd name="connsiteX8" fmla="*/ 3226 w 10008"/>
              <a:gd name="connsiteY8" fmla="*/ 9858 h 10000"/>
              <a:gd name="connsiteX9" fmla="*/ 2436 w 10008"/>
              <a:gd name="connsiteY9" fmla="*/ 9227 h 10000"/>
              <a:gd name="connsiteX10" fmla="*/ 1062 w 10008"/>
              <a:gd name="connsiteY10" fmla="*/ 8891 h 10000"/>
              <a:gd name="connsiteX11" fmla="*/ 0 w 10008"/>
              <a:gd name="connsiteY11" fmla="*/ 10000 h 10000"/>
              <a:gd name="connsiteX12" fmla="*/ 0 w 10008"/>
              <a:gd name="connsiteY12" fmla="*/ 0 h 10000"/>
              <a:gd name="connsiteX0" fmla="*/ 0 w 10008"/>
              <a:gd name="connsiteY0" fmla="*/ 0 h 9934"/>
              <a:gd name="connsiteX1" fmla="*/ 10000 w 10008"/>
              <a:gd name="connsiteY1" fmla="*/ 0 h 9934"/>
              <a:gd name="connsiteX2" fmla="*/ 10008 w 10008"/>
              <a:gd name="connsiteY2" fmla="*/ 9904 h 9934"/>
              <a:gd name="connsiteX3" fmla="*/ 9125 w 10008"/>
              <a:gd name="connsiteY3" fmla="*/ 9720 h 9934"/>
              <a:gd name="connsiteX4" fmla="*/ 8445 w 10008"/>
              <a:gd name="connsiteY4" fmla="*/ 9268 h 9934"/>
              <a:gd name="connsiteX5" fmla="*/ 7117 w 10008"/>
              <a:gd name="connsiteY5" fmla="*/ 9934 h 9934"/>
              <a:gd name="connsiteX6" fmla="*/ 5937 w 10008"/>
              <a:gd name="connsiteY6" fmla="*/ 9467 h 9934"/>
              <a:gd name="connsiteX7" fmla="*/ 4468 w 10008"/>
              <a:gd name="connsiteY7" fmla="*/ 9529 h 9934"/>
              <a:gd name="connsiteX8" fmla="*/ 3226 w 10008"/>
              <a:gd name="connsiteY8" fmla="*/ 9858 h 9934"/>
              <a:gd name="connsiteX9" fmla="*/ 2436 w 10008"/>
              <a:gd name="connsiteY9" fmla="*/ 9227 h 9934"/>
              <a:gd name="connsiteX10" fmla="*/ 1062 w 10008"/>
              <a:gd name="connsiteY10" fmla="*/ 8891 h 9934"/>
              <a:gd name="connsiteX11" fmla="*/ 0 w 10008"/>
              <a:gd name="connsiteY11" fmla="*/ 9431 h 9934"/>
              <a:gd name="connsiteX12" fmla="*/ 0 w 10008"/>
              <a:gd name="connsiteY12" fmla="*/ 0 h 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008" h="9934">
                <a:moveTo>
                  <a:pt x="0" y="0"/>
                </a:moveTo>
                <a:lnTo>
                  <a:pt x="10000" y="0"/>
                </a:lnTo>
                <a:cubicBezTo>
                  <a:pt x="10003" y="3301"/>
                  <a:pt x="10005" y="6603"/>
                  <a:pt x="10008" y="9904"/>
                </a:cubicBezTo>
                <a:lnTo>
                  <a:pt x="9125" y="9720"/>
                </a:lnTo>
                <a:lnTo>
                  <a:pt x="8445" y="9268"/>
                </a:lnTo>
                <a:lnTo>
                  <a:pt x="7117" y="9934"/>
                </a:lnTo>
                <a:lnTo>
                  <a:pt x="5937" y="9467"/>
                </a:lnTo>
                <a:lnTo>
                  <a:pt x="4468" y="9529"/>
                </a:lnTo>
                <a:lnTo>
                  <a:pt x="3226" y="9858"/>
                </a:lnTo>
                <a:lnTo>
                  <a:pt x="2436" y="9227"/>
                </a:lnTo>
                <a:lnTo>
                  <a:pt x="1062" y="8891"/>
                </a:lnTo>
                <a:lnTo>
                  <a:pt x="0" y="943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A827F49-2543-4B47-9154-FBD937A47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0686" y="1272988"/>
            <a:ext cx="5584232" cy="645459"/>
          </a:xfrm>
        </p:spPr>
        <p:txBody>
          <a:bodyPr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FA533A8C-0106-46EA-8AAF-56869AE65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0686" y="1990165"/>
            <a:ext cx="5584232" cy="4177554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238272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1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BD39366-702A-48EF-A190-A33B83C9D618}"/>
              </a:ext>
            </a:extLst>
          </p:cNvPr>
          <p:cNvSpPr/>
          <p:nvPr userDrawn="1"/>
        </p:nvSpPr>
        <p:spPr>
          <a:xfrm>
            <a:off x="7479659" y="0"/>
            <a:ext cx="4712341" cy="68731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dirty="0">
              <a:latin typeface="K2D" panose="00000500000000000000" pitchFamily="2" charset="-34"/>
              <a:cs typeface="K2D" panose="00000500000000000000" pitchFamily="2" charset="-34"/>
            </a:endParaRP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33E3ADCA-C1FB-45D9-8D75-F1272071600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48918" y="2496555"/>
            <a:ext cx="3526721" cy="30143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Rediger typografien i masterens</a:t>
            </a:r>
          </a:p>
          <a:p>
            <a:pPr lvl="1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Andet niveau</a:t>
            </a:r>
          </a:p>
          <a:p>
            <a:pPr lvl="2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Tredje niveau</a:t>
            </a:r>
          </a:p>
          <a:p>
            <a:pPr lvl="3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Fjerde niveau</a:t>
            </a:r>
          </a:p>
          <a:p>
            <a:pPr lvl="4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Femte niveau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AE0C2687-EC0B-4310-9BF8-235999D6F7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48919" y="1948800"/>
            <a:ext cx="3034792" cy="38672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>
                <a:latin typeface="K2D" panose="00000500000000000000" pitchFamily="2" charset="-34"/>
                <a:cs typeface="K2D" panose="00000500000000000000" pitchFamily="2" charset="-34"/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a-DK" dirty="0"/>
              <a:t>Skriv undertitel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AA827F49-2543-4B47-9154-FBD937A47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0686" y="1272988"/>
            <a:ext cx="5584232" cy="645459"/>
          </a:xfrm>
        </p:spPr>
        <p:txBody>
          <a:bodyPr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14" name="Pladsholder til tekst 4">
            <a:extLst>
              <a:ext uri="{FF2B5EF4-FFF2-40B4-BE49-F238E27FC236}">
                <a16:creationId xmlns:a16="http://schemas.microsoft.com/office/drawing/2014/main" id="{FA533A8C-0106-46EA-8AAF-56869AE658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0686" y="1990165"/>
            <a:ext cx="5584232" cy="4177554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/>
            </a:lvl2pPr>
            <a:lvl3pPr marL="452690" indent="0">
              <a:buFontTx/>
              <a:buNone/>
              <a:defRPr/>
            </a:lvl3pPr>
            <a:lvl4pPr marL="679035" indent="0">
              <a:buFontTx/>
              <a:buNone/>
              <a:defRPr/>
            </a:lvl4pPr>
            <a:lvl5pPr marL="90538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965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457" y="1013074"/>
            <a:ext cx="3921059" cy="612995"/>
          </a:xfrm>
        </p:spPr>
        <p:txBody>
          <a:bodyPr tIns="468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9D1E83-42E7-47EB-A58D-5512AA4ECC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5458" y="1801906"/>
            <a:ext cx="3921060" cy="3897558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 sz="2000"/>
            </a:lvl2pPr>
            <a:lvl3pPr marL="452690" indent="0">
              <a:buFontTx/>
              <a:buNone/>
              <a:defRPr sz="2000"/>
            </a:lvl3pPr>
            <a:lvl4pPr marL="679035" indent="0">
              <a:buFontTx/>
              <a:buNone/>
              <a:defRPr sz="2000"/>
            </a:lvl4pPr>
            <a:lvl5pPr marL="905380" indent="0">
              <a:buFontTx/>
              <a:buNone/>
              <a:defRPr sz="20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A92C460-7A43-471E-AAC8-A400981F7F8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032374" y="1013074"/>
            <a:ext cx="6643265" cy="468638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Vælg tabel, graf eller </a:t>
            </a:r>
            <a:r>
              <a:rPr lang="da-DK" dirty="0" err="1"/>
              <a:t>SmartArt</a:t>
            </a:r>
            <a:endParaRPr lang="da-DK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84ADC745-324C-4A30-991E-E0750C0ADE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200" y="6120000"/>
            <a:ext cx="5056322" cy="33210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4949297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A92C460-7A43-471E-AAC8-A400981F7F8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351970" y="1013075"/>
            <a:ext cx="6643265" cy="46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/>
              <a:t>Vælg tabel, graf eller </a:t>
            </a:r>
            <a:r>
              <a:rPr lang="da-DK" dirty="0" err="1"/>
              <a:t>SmartArt</a:t>
            </a:r>
            <a:endParaRPr lang="da-DK" dirty="0"/>
          </a:p>
        </p:txBody>
      </p:sp>
      <p:sp>
        <p:nvSpPr>
          <p:cNvPr id="15" name="Pladsholder til tekst 9">
            <a:extLst>
              <a:ext uri="{FF2B5EF4-FFF2-40B4-BE49-F238E27FC236}">
                <a16:creationId xmlns:a16="http://schemas.microsoft.com/office/drawing/2014/main" id="{E7DD1CC2-B7B2-4F08-9A5B-65A9A09EA8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200" y="6119999"/>
            <a:ext cx="5065200" cy="413965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457" y="978070"/>
            <a:ext cx="3921059" cy="648000"/>
          </a:xfrm>
        </p:spPr>
        <p:txBody>
          <a:bodyPr tIns="468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059D1E83-42E7-47EB-A58D-5512AA4ECC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5458" y="1801906"/>
            <a:ext cx="3921060" cy="3853169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 sz="2000"/>
            </a:lvl2pPr>
            <a:lvl3pPr marL="452690" indent="0">
              <a:buFontTx/>
              <a:buNone/>
              <a:defRPr sz="2000"/>
            </a:lvl3pPr>
            <a:lvl4pPr marL="679035" indent="0">
              <a:buFontTx/>
              <a:buNone/>
              <a:defRPr sz="2000"/>
            </a:lvl4pPr>
            <a:lvl5pPr marL="905380" indent="0">
              <a:buFontTx/>
              <a:buNone/>
              <a:defRPr sz="20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8660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216B3EB0-9F03-40A5-A1E2-BFB919D729E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ikonet for at indsætte et baggrunds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3076" y="2232000"/>
            <a:ext cx="7808492" cy="899327"/>
          </a:xfrm>
        </p:spPr>
        <p:txBody>
          <a:bodyPr anchor="t"/>
          <a:lstStyle>
            <a:lvl1pPr algn="l">
              <a:defRPr sz="6600">
                <a:solidFill>
                  <a:schemeClr val="accent1"/>
                </a:solidFill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4" name="Pladsholder til tekst 9">
            <a:extLst>
              <a:ext uri="{FF2B5EF4-FFF2-40B4-BE49-F238E27FC236}">
                <a16:creationId xmlns:a16="http://schemas.microsoft.com/office/drawing/2014/main" id="{0F03B564-F818-4EFC-96BB-AEB9160655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200" y="6119999"/>
            <a:ext cx="4523662" cy="316311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solidFill>
                  <a:schemeClr val="tx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419861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A92C460-7A43-471E-AAC8-A400981F7F8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032374" y="1013075"/>
            <a:ext cx="6643265" cy="4659756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Vælg tabel, graf eller </a:t>
            </a:r>
            <a:r>
              <a:rPr lang="da-DK" dirty="0" err="1"/>
              <a:t>SmartArt</a:t>
            </a:r>
            <a:endParaRPr lang="da-DK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81044CC2-E6E1-4A79-92CE-A6DE822B33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199" y="6120000"/>
            <a:ext cx="5367041" cy="33120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457" y="978070"/>
            <a:ext cx="3921059" cy="648000"/>
          </a:xfrm>
        </p:spPr>
        <p:txBody>
          <a:bodyPr tIns="46800" anchor="t"/>
          <a:lstStyle>
            <a:lvl1pPr algn="l">
              <a:defRPr sz="4000" b="1">
                <a:solidFill>
                  <a:schemeClr val="accent2"/>
                </a:solidFill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059D1E83-42E7-47EB-A58D-5512AA4ECC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5458" y="1801907"/>
            <a:ext cx="3921060" cy="3870924"/>
          </a:xfrm>
        </p:spPr>
        <p:txBody>
          <a:bodyPr tIns="36000">
            <a:no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  <a:latin typeface="K2D Medium" panose="00000600000000000000" pitchFamily="2" charset="-34"/>
                <a:cs typeface="K2D Medium" panose="00000600000000000000" pitchFamily="2" charset="-34"/>
              </a:defRPr>
            </a:lvl1pPr>
            <a:lvl2pPr marL="226345" indent="0">
              <a:buFontTx/>
              <a:buNone/>
              <a:defRPr sz="2000">
                <a:solidFill>
                  <a:schemeClr val="accent2"/>
                </a:solidFill>
              </a:defRPr>
            </a:lvl2pPr>
            <a:lvl3pPr marL="452690" indent="0">
              <a:buFontTx/>
              <a:buNone/>
              <a:defRPr sz="2000">
                <a:solidFill>
                  <a:schemeClr val="accent2"/>
                </a:solidFill>
              </a:defRPr>
            </a:lvl3pPr>
            <a:lvl4pPr marL="679035" indent="0">
              <a:buFontTx/>
              <a:buNone/>
              <a:defRPr sz="2000">
                <a:solidFill>
                  <a:schemeClr val="accent2"/>
                </a:solidFill>
              </a:defRPr>
            </a:lvl4pPr>
            <a:lvl5pPr marL="905380" indent="0">
              <a:buFontTx/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3292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sid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69810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sid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9750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E872564E-AE81-4082-B4E9-5EFEA1FC93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200" y="6119999"/>
            <a:ext cx="4523662" cy="369577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310182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685616C3-81F0-4236-B8FD-CCA45C5C12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656827" cy="378454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</p:spTree>
    <p:extLst>
      <p:ext uri="{BB962C8B-B14F-4D97-AF65-F5344CB8AC3E}">
        <p14:creationId xmlns:p14="http://schemas.microsoft.com/office/powerpoint/2010/main" val="161615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F76CC09D-2E8A-4160-9B0E-AEDC417FB3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5029689" cy="33120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930129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08A44A-05AE-4565-B6C8-E163B0316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8EB0726E-BAE7-4AD0-A97F-D0200293B7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660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B42D0F3E-41BA-4EEC-BAD5-20408E720C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7" y="365134"/>
            <a:ext cx="2628900" cy="5811839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51356364-0730-46B1-9AFD-61F566D1FC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7" y="365134"/>
            <a:ext cx="7734300" cy="5811839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094186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7A22B0-B3C4-6591-3A8F-96571DB7F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FDA91F4-5ED7-1205-A764-BE9FF36CB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B9C9F56-0DF4-E96E-C890-335095F5B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B2C6E-6E21-4888-B48D-5931462FA321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E3251F5-2717-51AF-CBB4-A94B91E23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A64995F-939F-E0C6-787A-6399571B1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8B71B-0412-4C81-8570-5DE99090B6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82877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E7CB44-A13E-7E42-979F-806D82683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3AB9B-FEAB-6D44-8785-3431C4E4C787}" type="datetimeFigureOut">
              <a:rPr lang="en-DK" smtClean="0"/>
              <a:t>11/05/2025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6AC44A-7767-2E48-81D9-F94531C61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DE0EFB-79E0-2840-B85F-6185A984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AC6CC-415D-674D-AA64-F724852FC9E3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2143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unktopstilling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8"/>
            <a:ext cx="9606900" cy="582705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1" y="1210236"/>
            <a:ext cx="9614100" cy="432335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226345" indent="0">
              <a:buFontTx/>
              <a:buNone/>
              <a:defRPr sz="2400"/>
            </a:lvl2pPr>
            <a:lvl3pPr marL="452690" indent="0">
              <a:buFontTx/>
              <a:buNone/>
              <a:defRPr sz="2400"/>
            </a:lvl3pPr>
            <a:lvl4pPr marL="679035" indent="0">
              <a:buFontTx/>
              <a:buNone/>
              <a:defRPr sz="2400"/>
            </a:lvl4pPr>
            <a:lvl5pPr marL="905380" indent="0"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6735D9A1-9B3A-4681-9EBB-1A5229CE04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763359" cy="378454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2290370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7C9D85-6045-95BD-6F6B-6F017906E4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0BB71653-C433-107F-E4ED-E4D74D8EC1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74F0D78-65D7-F1CD-A589-AF1C10F57D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EF05170-B05E-FF39-45D9-CF4D39E05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F2BC25-0EB9-EBD1-0C12-71E69B27A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80404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0BC55D-F652-4793-2528-35E22DD30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01EE7DD-3516-9F5B-CB2F-E18ED47522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05D100D-B599-4064-3AB1-6A2D73CA7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00DC140-0842-3331-120F-3276E1023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17B3285-9356-8AF9-7032-445636799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12591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6DC129-0552-6AD3-7E0A-8967956E8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9C5C359-5EF5-E521-9F92-135E5536F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88A644B-67FC-4DEB-DCA1-BF8EF8A04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E95B963-5260-98EE-D9D1-0DD8A6B87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6EC5379-9BDF-B9C5-64A7-A0A63B429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202887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191956-5221-E20E-D66E-9D6F65A28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CCCB785-20E6-6727-3A82-C122C2CFC4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2980022-5D89-77F3-1DA3-85E94DA1BE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20DFC8D-4B41-CB68-0700-09E2866C4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E86FC25-D8D0-3631-FF89-9E352B3C8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22CD559-FC00-3C12-10AD-3D6A8C38D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67204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D5981-BB86-9E15-65F3-A29FFFAF4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D1BFFC8-F645-7BB5-16A8-2368C69D47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FDE9C17-EB8B-09E2-5EA7-A92991602D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BEFB77C7-15A8-8832-FB08-D08018C254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1E299087-4A1C-1D38-4790-935485B0CD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EF59CA99-5BB8-3E59-1038-56AC5CB85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728CCA7-02DE-411A-659A-382E8A0B3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13C93F8-AB39-67AB-AA1B-3F26BC3DB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94788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9255CB-C224-5450-5EDE-63E27BD0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B4A588E-533A-2062-8B25-42A78E9EF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3A900094-F7E3-F875-908D-5CF01AB50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8697379-A92E-408F-FFC6-39BB453AD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1215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13AE404-F899-A27A-4F33-230BEC404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2B61AB11-639D-C81A-AD2F-83C0C9436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CA073F4-1689-C525-5A6C-A86A528D9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59411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441D2-1D8E-D23C-986C-EAA5F099D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BD0B31B-76C4-ED46-1124-090325569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ECD54BE-332B-563D-B99A-2D3D7E0A9C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4B49D04-8DEF-C5B7-DEB0-87F8642A8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98CCF16-FE4B-B3BD-F3C9-3F3E1FCD6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D601078-B0C4-1CA2-35C5-00B8899A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7432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08A664-FE0A-3C96-87CE-EDCA780ED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0E677B4E-FA4D-9B92-E4C4-22357828B4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9F738C2-8582-964B-C787-7E8B31B1F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2772914-3CD0-4BF7-0FF3-D0250AFA8A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4BC334A-AC52-E679-9938-194D74B95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EF779E0-10EA-3205-88F8-F496197E0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4881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30037A-C783-7F0C-EEFB-F6C9D6E32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D8824E96-9D55-9C3C-43A8-C60AF96ADB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A5466AF-A088-0C0B-C120-8F6D9F84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07759FD-FFB6-521A-57E6-BFECC5308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D17C24B-C11A-3C2F-F600-8FAAF1FC2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10562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nktopstilling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7"/>
            <a:ext cx="9614100" cy="618565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0" y="1264024"/>
            <a:ext cx="9614100" cy="4269564"/>
          </a:xfrm>
        </p:spPr>
        <p:txBody>
          <a:bodyPr tIns="46800">
            <a:normAutofit/>
          </a:bodyPr>
          <a:lstStyle>
            <a:lvl1pPr marL="0" indent="0">
              <a:buFontTx/>
              <a:buNone/>
              <a:defRPr sz="2400"/>
            </a:lvl1pPr>
            <a:lvl2pPr marL="226345" indent="0">
              <a:buFontTx/>
              <a:buNone/>
              <a:defRPr sz="2400"/>
            </a:lvl2pPr>
            <a:lvl3pPr marL="452690" indent="0">
              <a:buFontTx/>
              <a:buNone/>
              <a:defRPr sz="2400"/>
            </a:lvl3pPr>
            <a:lvl4pPr marL="679035" indent="0">
              <a:buFontTx/>
              <a:buNone/>
              <a:defRPr sz="2400"/>
            </a:lvl4pPr>
            <a:lvl5pPr marL="905380" indent="0"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C36E812D-9135-45B5-8B8D-D300B7663C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100" y="6013314"/>
            <a:ext cx="828000" cy="332101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4E87056D-8873-4113-84B2-795596C5CC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887647" cy="39621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9760242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6F75EF90-C849-ADAB-E97B-E46937585D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BAB71D2D-B9E3-DD9E-12C0-C3C48682D7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9FE2545-0132-8C69-2A39-BAC9C3A7C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EC09403-B592-8308-9D57-FE80110E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8D3D02B-0DA1-53CB-560B-A55A54E70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144691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7DE88D-B77C-BF6E-28FA-25B02139D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9166FEE-9224-D513-16D5-5E361C02D0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34E071C-3E5D-3478-FD8C-55DA752F6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FE7B357-5B12-C52B-6CCF-299EEF533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C17FBF4-F42C-F507-957E-B9123DE4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13776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581379-E453-6930-D6F4-D7F477FD6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DE9F56D-A4DE-0BCE-49F1-5907E9B9CA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2A40C5A-6A4A-637C-81DA-0AC140A4C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891B431-2E29-2C62-0C8A-C71B36A9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96B9DEB-CC9D-A84B-A92A-5082ADCB2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569366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C2F664-DAB9-9793-76AF-E6D1BE30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8D26B16-50A4-7BAB-483C-8D8BA1E912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F629059-CCCE-6431-1D1A-84953EFB9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89289B-FC93-4F6A-6A53-78ADAB329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C43EF68-4D95-45D6-A5B8-DA22248DC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12801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2FDB4D-1E94-ABA5-BBC6-AE9C5CE79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CA53DCF-CA7E-3E8C-8E08-D394908E5C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EB0B7FD9-8A09-C98E-9F6E-352D6260C9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DC93FF3-D67F-A32F-496E-42E73E0B9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9632A2E-5D4D-9427-5786-F53C7903B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F170981-CA5A-F7C6-7CCA-04A4C815B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89727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7A77F2-F868-7A15-9935-EA6F75350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6950321-23AD-2C25-D9C4-D0F12D8D38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2B69997-5CFA-5AA6-A578-6281FFF0A9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C16E0623-1D5B-778F-C051-F355D71A09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C42C919-5084-B67A-BAD3-C093D9E10C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052266F-1A95-A592-5AEE-9F20C0714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EADCB221-550F-2AFF-AB24-6CBA50F57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9F56C7C-DF20-CC03-C1DA-6378B7E0F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60038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6ED89A-3434-E7D1-E9EE-3B3809412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35E3F33-ECC9-3024-2E86-1DCEBB55E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942B2E5-2317-2E93-506D-F572BE7B4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3779F13-453C-EE2B-CDC4-CBC1CA547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055991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BAA0348-6DC4-DB83-3520-E08103A66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AD004AB-0696-EBAE-888B-A699D578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5C2465F-BA4E-F2FB-4B10-1403D9269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1047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2DE05B-CB3D-8222-2696-CFC88B499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16EE1B5-BDF0-96AA-B857-C9EA56B8AD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B32BD994-A39E-770A-FCEF-EE60147FF9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C164BC5-B25E-97A0-3B97-FD648A2D1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A20F05F-0313-C439-BB0B-54FF872A1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AC3A50C-3719-BA4F-D4A6-341DA6FC3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58332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2E46E8-B4F9-E7E9-2F4B-CC6AB8059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C22E2A5-7A20-EF1D-7814-0C9397E59B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F2CED37-7B94-88C5-50AB-A2DF204E7C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661A623-41D1-86DD-C582-E336FD4A0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D7604E1-502D-3DAC-2453-AE4A81AD0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5E5E27E-2DC9-15BA-B7B2-62C725146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92497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nktopstilling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8"/>
            <a:ext cx="9606900" cy="582705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1" y="1210236"/>
            <a:ext cx="9614100" cy="432335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226345" indent="0">
              <a:buFontTx/>
              <a:buNone/>
              <a:defRPr sz="2400"/>
            </a:lvl2pPr>
            <a:lvl3pPr marL="452690" indent="0">
              <a:buFontTx/>
              <a:buNone/>
              <a:defRPr sz="2400"/>
            </a:lvl3pPr>
            <a:lvl4pPr marL="679035" indent="0">
              <a:buFontTx/>
              <a:buNone/>
              <a:defRPr sz="2400"/>
            </a:lvl4pPr>
            <a:lvl5pPr marL="905380" indent="0"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6735D9A1-9B3A-4681-9EBB-1A5229CE04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19999"/>
            <a:ext cx="4976423" cy="332101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644175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ECAB67-D82A-DD10-17B4-F1C77D127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538A4EF9-9FAB-B0A9-A097-564259161B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28D7688-D559-771B-ED8E-2D2D7D5F7C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FBAB06A-6C61-0C3A-76E3-33B3AA118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F47877C-A466-2F8F-C8D4-6253371E3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259530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69E0CCFE-C066-18BC-044E-3724F40323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F13111EA-0CE9-E7BA-034E-BB4B15993E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D8476A-D64D-C9F2-0D97-A136EB6B6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AE12-3493-403A-91E2-AED1AAA6797B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280A9CA-6DBF-63AF-A07C-CC9B1F74FE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B80F699-5B08-89D8-BE1B-3223C88AD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50E11-FCB8-4466-8365-3F0DF44F3F6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77553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sp>
        <p:nvSpPr>
          <p:cNvPr id="14" name="Rektangel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9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9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1" y="5780918"/>
            <a:ext cx="2249411" cy="201600"/>
          </a:xfrm>
        </p:spPr>
        <p:txBody>
          <a:bodyPr lIns="0" tIns="0" rIns="0" bIns="0" anchor="t" anchorCtr="0"/>
          <a:lstStyle>
            <a:lvl1pPr marL="171399" indent="-171399">
              <a:defRPr lang="da-DK" sz="1200" b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54D52F91-89C2-4359-B66A-BEBB570BA0EF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8" y="7692039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4" y="7692039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AutoShape 4"/>
          <p:cNvSpPr>
            <a:spLocks/>
          </p:cNvSpPr>
          <p:nvPr userDrawn="1"/>
        </p:nvSpPr>
        <p:spPr bwMode="gray">
          <a:xfrm>
            <a:off x="12192002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3963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1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3963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sp>
        <p:nvSpPr>
          <p:cNvPr id="2" name="Tekstfelt 1"/>
          <p:cNvSpPr txBox="1"/>
          <p:nvPr userDrawn="1"/>
        </p:nvSpPr>
        <p:spPr>
          <a:xfrm>
            <a:off x="-2056134" y="1196591"/>
            <a:ext cx="2054877" cy="138499"/>
          </a:xfrm>
          <a:prstGeom prst="rect">
            <a:avLst/>
          </a:prstGeom>
          <a:noFill/>
        </p:spPr>
        <p:txBody>
          <a:bodyPr wrap="square" lIns="0" tIns="0" rIns="143963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555A78-9821-4BB3-859E-F5047E7492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861" y="6003169"/>
            <a:ext cx="1554234" cy="982380"/>
          </a:xfrm>
          <a:prstGeom prst="rect">
            <a:avLst/>
          </a:prstGeom>
        </p:spPr>
      </p:pic>
      <p:sp>
        <p:nvSpPr>
          <p:cNvPr id="26" name="Rectangle 6"/>
          <p:cNvSpPr/>
          <p:nvPr userDrawn="1"/>
        </p:nvSpPr>
        <p:spPr>
          <a:xfrm>
            <a:off x="-1399565" y="6011706"/>
            <a:ext cx="1233922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799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4D2852-23AA-4402-9048-04C6ACDBCA3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525871" y="3"/>
            <a:ext cx="1378029" cy="10350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47381C9-146F-4DBB-990B-7556C500D4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4511" y="343489"/>
            <a:ext cx="2849271" cy="72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409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9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9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1" y="5780918"/>
            <a:ext cx="2249411" cy="201600"/>
          </a:xfrm>
        </p:spPr>
        <p:txBody>
          <a:bodyPr lIns="0" tIns="0" rIns="0" bIns="0" anchor="t" anchorCtr="0"/>
          <a:lstStyle>
            <a:lvl1pPr marL="171399" indent="-171399">
              <a:defRPr lang="da-DK" sz="1200" b="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A9E3A3BE-52D3-4A2A-83B7-50DC8BD418FD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8" y="7692039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4" y="7692039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3963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pic>
        <p:nvPicPr>
          <p:cNvPr id="13" name="Billede 19">
            <a:extLst>
              <a:ext uri="{FF2B5EF4-FFF2-40B4-BE49-F238E27FC236}">
                <a16:creationId xmlns:a16="http://schemas.microsoft.com/office/drawing/2014/main" id="{AF9B4854-AC56-4DF7-95FA-8506604781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50B2A0D-954C-468A-99A0-E86A2409EA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861" y="6003169"/>
            <a:ext cx="1554234" cy="982380"/>
          </a:xfrm>
          <a:prstGeom prst="rect">
            <a:avLst/>
          </a:prstGeom>
        </p:spPr>
      </p:pic>
      <p:sp>
        <p:nvSpPr>
          <p:cNvPr id="17" name="Rectangle 6">
            <a:extLst>
              <a:ext uri="{FF2B5EF4-FFF2-40B4-BE49-F238E27FC236}">
                <a16:creationId xmlns:a16="http://schemas.microsoft.com/office/drawing/2014/main" id="{0293960A-CA50-4566-915B-53878615FB36}"/>
              </a:ext>
            </a:extLst>
          </p:cNvPr>
          <p:cNvSpPr/>
          <p:nvPr userDrawn="1"/>
        </p:nvSpPr>
        <p:spPr>
          <a:xfrm>
            <a:off x="-1399565" y="6011706"/>
            <a:ext cx="1233922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799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3F3EB77-4819-4885-869F-3E97B4AB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76099" y="343489"/>
            <a:ext cx="2849269" cy="72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241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30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9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31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9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3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1" y="5780918"/>
            <a:ext cx="2249411" cy="201600"/>
          </a:xfrm>
        </p:spPr>
        <p:txBody>
          <a:bodyPr lIns="0" tIns="0" rIns="0" bIns="0" anchor="t" anchorCtr="0"/>
          <a:lstStyle>
            <a:lvl1pPr marL="171399" indent="-171399">
              <a:defRPr lang="da-DK" sz="1200" b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043FD2A9-1A01-4EAF-9C76-BEF5BB45990E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3" name="Pladsholder logo"/>
          <p:cNvSpPr>
            <a:spLocks noGrp="1"/>
          </p:cNvSpPr>
          <p:nvPr>
            <p:ph type="body" sz="quarter" idx="18" hasCustomPrompt="1"/>
          </p:nvPr>
        </p:nvSpPr>
        <p:spPr>
          <a:xfrm>
            <a:off x="9076098" y="344807"/>
            <a:ext cx="2849269" cy="71944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8" y="7692039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4" y="7692039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4" y="0"/>
            <a:ext cx="1843475" cy="1037417"/>
          </a:xfrm>
          <a:prstGeom prst="rect">
            <a:avLst/>
          </a:prstGeom>
        </p:spPr>
      </p:pic>
      <p:sp>
        <p:nvSpPr>
          <p:cNvPr id="38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3963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grpSp>
        <p:nvGrpSpPr>
          <p:cNvPr id="41" name="Gruppe 40"/>
          <p:cNvGrpSpPr/>
          <p:nvPr userDrawn="1"/>
        </p:nvGrpSpPr>
        <p:grpSpPr>
          <a:xfrm>
            <a:off x="12192000" y="1941322"/>
            <a:ext cx="2032529" cy="3185487"/>
            <a:chOff x="9150825" y="2171823"/>
            <a:chExt cx="2032000" cy="3185487"/>
          </a:xfrm>
        </p:grpSpPr>
        <p:sp>
          <p:nvSpPr>
            <p:cNvPr id="42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18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3" name="Billede 7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50" name="Billede 79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sp>
        <p:nvSpPr>
          <p:cNvPr id="52" name="AutoShape 4"/>
          <p:cNvSpPr>
            <a:spLocks/>
          </p:cNvSpPr>
          <p:nvPr userDrawn="1"/>
        </p:nvSpPr>
        <p:spPr bwMode="gray">
          <a:xfrm>
            <a:off x="12192002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3963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6" name="Tekstfelt 25"/>
          <p:cNvSpPr txBox="1"/>
          <p:nvPr userDrawn="1"/>
        </p:nvSpPr>
        <p:spPr>
          <a:xfrm>
            <a:off x="-2056134" y="1196591"/>
            <a:ext cx="2054877" cy="138499"/>
          </a:xfrm>
          <a:prstGeom prst="rect">
            <a:avLst/>
          </a:prstGeom>
          <a:noFill/>
        </p:spPr>
        <p:txBody>
          <a:bodyPr wrap="square" lIns="0" tIns="0" rIns="143963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27" name="Billede 28">
            <a:extLst>
              <a:ext uri="{FF2B5EF4-FFF2-40B4-BE49-F238E27FC236}">
                <a16:creationId xmlns:a16="http://schemas.microsoft.com/office/drawing/2014/main" id="{4BDA21CA-314B-4079-82E5-B8955DE6FA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98" b="83642"/>
          <a:stretch/>
        </p:blipFill>
        <p:spPr>
          <a:xfrm>
            <a:off x="-1456744" y="16590"/>
            <a:ext cx="1308902" cy="1696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9CAE5B1-1DFB-4F1F-9B9E-4457F154CA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6786" y="57328"/>
            <a:ext cx="357409" cy="78113"/>
          </a:xfrm>
          <a:prstGeom prst="rect">
            <a:avLst/>
          </a:prstGeom>
        </p:spPr>
      </p:pic>
      <p:pic>
        <p:nvPicPr>
          <p:cNvPr id="28" name="Billede 19">
            <a:extLst>
              <a:ext uri="{FF2B5EF4-FFF2-40B4-BE49-F238E27FC236}">
                <a16:creationId xmlns:a16="http://schemas.microsoft.com/office/drawing/2014/main" id="{EDC978E1-7915-4A02-8689-74877FAD036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D97E1ED-C622-4A04-9F5A-D949B33AE66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702861" y="6003169"/>
            <a:ext cx="1554234" cy="982380"/>
          </a:xfrm>
          <a:prstGeom prst="rect">
            <a:avLst/>
          </a:prstGeom>
        </p:spPr>
      </p:pic>
      <p:sp>
        <p:nvSpPr>
          <p:cNvPr id="34" name="Rectangle 6">
            <a:extLst>
              <a:ext uri="{FF2B5EF4-FFF2-40B4-BE49-F238E27FC236}">
                <a16:creationId xmlns:a16="http://schemas.microsoft.com/office/drawing/2014/main" id="{46438CD4-981B-4E19-87A4-A43C8BDDFCEE}"/>
              </a:ext>
            </a:extLst>
          </p:cNvPr>
          <p:cNvSpPr/>
          <p:nvPr userDrawn="1"/>
        </p:nvSpPr>
        <p:spPr>
          <a:xfrm>
            <a:off x="-1399564" y="6011706"/>
            <a:ext cx="469683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799" dirty="0"/>
          </a:p>
        </p:txBody>
      </p:sp>
    </p:spTree>
    <p:extLst>
      <p:ext uri="{BB962C8B-B14F-4D97-AF65-F5344CB8AC3E}">
        <p14:creationId xmlns:p14="http://schemas.microsoft.com/office/powerpoint/2010/main" val="19564866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14269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8" y="7692039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4" y="7692039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9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34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9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41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1" y="5780918"/>
            <a:ext cx="2249411" cy="201600"/>
          </a:xfrm>
        </p:spPr>
        <p:txBody>
          <a:bodyPr lIns="0" tIns="0" rIns="0" bIns="0" anchor="t" anchorCtr="0"/>
          <a:lstStyle>
            <a:lvl1pPr marL="171399" indent="-171399">
              <a:defRPr lang="da-DK" sz="1200" b="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8DFF6038-43CF-4417-A5FC-275B982F82FB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43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3963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grpSp>
        <p:nvGrpSpPr>
          <p:cNvPr id="46" name="Gruppe 45"/>
          <p:cNvGrpSpPr/>
          <p:nvPr userDrawn="1"/>
        </p:nvGrpSpPr>
        <p:grpSpPr>
          <a:xfrm>
            <a:off x="12192000" y="1941322"/>
            <a:ext cx="2032529" cy="3185487"/>
            <a:chOff x="9150825" y="2171823"/>
            <a:chExt cx="2032000" cy="3185487"/>
          </a:xfrm>
        </p:grpSpPr>
        <p:sp>
          <p:nvSpPr>
            <p:cNvPr id="47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18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50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sp>
        <p:nvSpPr>
          <p:cNvPr id="52" name="AutoShape 4"/>
          <p:cNvSpPr>
            <a:spLocks/>
          </p:cNvSpPr>
          <p:nvPr userDrawn="1"/>
        </p:nvSpPr>
        <p:spPr bwMode="gray">
          <a:xfrm>
            <a:off x="12192002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3963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8" name="Tekstfelt 27"/>
          <p:cNvSpPr txBox="1"/>
          <p:nvPr userDrawn="1"/>
        </p:nvSpPr>
        <p:spPr>
          <a:xfrm>
            <a:off x="-2056134" y="1196591"/>
            <a:ext cx="2054877" cy="138499"/>
          </a:xfrm>
          <a:prstGeom prst="rect">
            <a:avLst/>
          </a:prstGeom>
          <a:noFill/>
        </p:spPr>
        <p:txBody>
          <a:bodyPr wrap="square" lIns="0" tIns="0" rIns="143963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1D64C0-0EC3-4E80-98AB-8C716D92DB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980514" y="0"/>
            <a:ext cx="1853756" cy="1042466"/>
          </a:xfrm>
          <a:prstGeom prst="rect">
            <a:avLst/>
          </a:prstGeom>
        </p:spPr>
      </p:pic>
      <p:pic>
        <p:nvPicPr>
          <p:cNvPr id="25" name="Billede 19">
            <a:extLst>
              <a:ext uri="{FF2B5EF4-FFF2-40B4-BE49-F238E27FC236}">
                <a16:creationId xmlns:a16="http://schemas.microsoft.com/office/drawing/2014/main" id="{5B9D90F4-EA5E-4AAA-A5BD-6419EA9958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319DE53-4437-4899-A8EB-F511B32945B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702861" y="6003169"/>
            <a:ext cx="1554234" cy="982380"/>
          </a:xfrm>
          <a:prstGeom prst="rect">
            <a:avLst/>
          </a:prstGeom>
        </p:spPr>
      </p:pic>
      <p:sp>
        <p:nvSpPr>
          <p:cNvPr id="30" name="Rectangle 6">
            <a:extLst>
              <a:ext uri="{FF2B5EF4-FFF2-40B4-BE49-F238E27FC236}">
                <a16:creationId xmlns:a16="http://schemas.microsoft.com/office/drawing/2014/main" id="{9626D6E3-AD3F-4FC6-81EE-28F194580E64}"/>
              </a:ext>
            </a:extLst>
          </p:cNvPr>
          <p:cNvSpPr/>
          <p:nvPr userDrawn="1"/>
        </p:nvSpPr>
        <p:spPr>
          <a:xfrm>
            <a:off x="-1399564" y="6011706"/>
            <a:ext cx="469683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799" dirty="0"/>
          </a:p>
        </p:txBody>
      </p:sp>
      <p:sp>
        <p:nvSpPr>
          <p:cNvPr id="26" name="Pladsholder logo">
            <a:extLst>
              <a:ext uri="{FF2B5EF4-FFF2-40B4-BE49-F238E27FC236}">
                <a16:creationId xmlns:a16="http://schemas.microsoft.com/office/drawing/2014/main" id="{5066B867-BB46-464E-AE62-99F777B250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76134" y="344807"/>
            <a:ext cx="2849269" cy="719443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87136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6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 eller indsæt farvet baggrund.</a:t>
            </a:r>
          </a:p>
        </p:txBody>
      </p:sp>
      <p:sp>
        <p:nvSpPr>
          <p:cNvPr id="11" name="Pladsholder til tekst 1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9582095" y="5026816"/>
            <a:ext cx="2250586" cy="576000"/>
          </a:xfrm>
        </p:spPr>
        <p:txBody>
          <a:bodyPr/>
          <a:lstStyle>
            <a:lvl1pPr>
              <a:defRPr lang="da-DK" sz="1699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7274507-88F6-45B7-BD2B-AF795E120293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12201100" y="1941320"/>
            <a:ext cx="2709334" cy="3046988"/>
            <a:chOff x="9150825" y="2171823"/>
            <a:chExt cx="2032000" cy="3046988"/>
          </a:xfrm>
        </p:grpSpPr>
        <p:sp>
          <p:nvSpPr>
            <p:cNvPr id="25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04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7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8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4" y="2"/>
            <a:ext cx="1841222" cy="1036149"/>
          </a:xfrm>
          <a:prstGeom prst="rect">
            <a:avLst/>
          </a:prstGeom>
        </p:spPr>
      </p:pic>
      <p:sp>
        <p:nvSpPr>
          <p:cNvPr id="21" name="Pladsholder logo"/>
          <p:cNvSpPr>
            <a:spLocks noGrp="1"/>
          </p:cNvSpPr>
          <p:nvPr>
            <p:ph type="body" sz="quarter" idx="22" hasCustomPrompt="1"/>
          </p:nvPr>
        </p:nvSpPr>
        <p:spPr>
          <a:xfrm>
            <a:off x="655841" y="6378872"/>
            <a:ext cx="223258" cy="201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512010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1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598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9582095" y="5026816"/>
            <a:ext cx="2250586" cy="576000"/>
          </a:xfrm>
        </p:spPr>
        <p:txBody>
          <a:bodyPr/>
          <a:lstStyle>
            <a:lvl1pPr>
              <a:defRPr lang="da-DK" sz="1699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" name="Pladsholder til dato 1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B309FD-88BD-4D3E-9350-0B1EDF3BED45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945176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0"/>
          </p:nvPr>
        </p:nvSpPr>
        <p:spPr>
          <a:xfrm>
            <a:off x="13326566" y="6398803"/>
            <a:ext cx="2844800" cy="365125"/>
          </a:xfrm>
          <a:prstGeom prst="rect">
            <a:avLst/>
          </a:prstGeom>
        </p:spPr>
        <p:txBody>
          <a:bodyPr/>
          <a:lstStyle/>
          <a:p>
            <a:fld id="{3E846768-65DE-4E96-98CC-871D3D20D5F1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5" name="Gruppe 14"/>
          <p:cNvGrpSpPr/>
          <p:nvPr userDrawn="1"/>
        </p:nvGrpSpPr>
        <p:grpSpPr>
          <a:xfrm>
            <a:off x="-2406368" y="1204883"/>
            <a:ext cx="2406370" cy="2221782"/>
            <a:chOff x="-2405743" y="1655465"/>
            <a:chExt cx="2405743" cy="2221782"/>
          </a:xfrm>
        </p:grpSpPr>
        <p:pic>
          <p:nvPicPr>
            <p:cNvPr id="16" name="Billede 15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e 17"/>
          <p:cNvGrpSpPr/>
          <p:nvPr userDrawn="1"/>
        </p:nvGrpSpPr>
        <p:grpSpPr>
          <a:xfrm>
            <a:off x="-2477546" y="3682288"/>
            <a:ext cx="2477546" cy="3200761"/>
            <a:chOff x="-2476901" y="3682285"/>
            <a:chExt cx="2476901" cy="3200761"/>
          </a:xfrm>
        </p:grpSpPr>
        <p:sp>
          <p:nvSpPr>
            <p:cNvPr id="21" name="Text Box 48"/>
            <p:cNvSpPr txBox="1">
              <a:spLocks noChangeArrowheads="1"/>
            </p:cNvSpPr>
            <p:nvPr userDrawn="1"/>
          </p:nvSpPr>
          <p:spPr bwMode="auto">
            <a:xfrm>
              <a:off x="-2476901" y="3682285"/>
              <a:ext cx="2476901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b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60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indsætte Sidehoved og 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sæt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 topmenuen 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dehoved og 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æt hak i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lidenummer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sæt ønsket indhold i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vend på alle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ps: </a:t>
              </a:r>
              <a:r>
                <a:rPr lang="da-DK" sz="900" b="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ør det som det sidste før du gemmer filen, så det slår igennem på alle sider </a:t>
              </a:r>
            </a:p>
          </p:txBody>
        </p:sp>
        <p:grpSp>
          <p:nvGrpSpPr>
            <p:cNvPr id="22" name="Gruppe 21"/>
            <p:cNvGrpSpPr/>
            <p:nvPr userDrawn="1"/>
          </p:nvGrpSpPr>
          <p:grpSpPr>
            <a:xfrm>
              <a:off x="-2461135" y="5229519"/>
              <a:ext cx="2312988" cy="1653527"/>
              <a:chOff x="-2461135" y="5229519"/>
              <a:chExt cx="2312988" cy="1653527"/>
            </a:xfrm>
          </p:grpSpPr>
          <p:pic>
            <p:nvPicPr>
              <p:cNvPr id="23" name="Billede 22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2461135" y="5229519"/>
                <a:ext cx="2312988" cy="1653527"/>
              </a:xfrm>
              <a:prstGeom prst="rect">
                <a:avLst/>
              </a:prstGeom>
            </p:spPr>
          </p:pic>
          <p:sp>
            <p:nvSpPr>
              <p:cNvPr id="24" name="Rektangel 23"/>
              <p:cNvSpPr/>
              <p:nvPr userDrawn="1"/>
            </p:nvSpPr>
            <p:spPr>
              <a:xfrm>
                <a:off x="-2340768" y="6165304"/>
                <a:ext cx="1656184" cy="288032"/>
              </a:xfrm>
              <a:prstGeom prst="rect">
                <a:avLst/>
              </a:prstGeom>
              <a:no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GB" sz="1799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92692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688" y="1196757"/>
            <a:ext cx="10889267" cy="4886325"/>
          </a:xfrm>
        </p:spPr>
        <p:txBody>
          <a:bodyPr numCol="2" spcCol="18000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0"/>
          </p:nvPr>
        </p:nvSpPr>
        <p:spPr>
          <a:xfrm>
            <a:off x="13326566" y="6398803"/>
            <a:ext cx="2844800" cy="365125"/>
          </a:xfrm>
          <a:prstGeom prst="rect">
            <a:avLst/>
          </a:prstGeom>
        </p:spPr>
        <p:txBody>
          <a:bodyPr/>
          <a:lstStyle/>
          <a:p>
            <a:fld id="{CA1F9EE9-931E-4F1C-8559-4905AF9B3ACE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2" name="Gruppe 11"/>
          <p:cNvGrpSpPr/>
          <p:nvPr userDrawn="1"/>
        </p:nvGrpSpPr>
        <p:grpSpPr>
          <a:xfrm>
            <a:off x="-2406368" y="1204883"/>
            <a:ext cx="2406370" cy="2221782"/>
            <a:chOff x="-2405743" y="1655465"/>
            <a:chExt cx="2405743" cy="2221782"/>
          </a:xfrm>
        </p:grpSpPr>
        <p:pic>
          <p:nvPicPr>
            <p:cNvPr id="13" name="Billede 12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1103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nktopstilling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7"/>
            <a:ext cx="9613802" cy="546847"/>
          </a:xfrm>
        </p:spPr>
        <p:txBody>
          <a:bodyPr tIns="36000" anchor="t"/>
          <a:lstStyle>
            <a:lvl1pPr algn="l">
              <a:defRPr sz="4000" b="1">
                <a:solidFill>
                  <a:schemeClr val="bg2"/>
                </a:solidFill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0" y="1264024"/>
            <a:ext cx="9613802" cy="426956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2"/>
                </a:solidFill>
              </a:defRPr>
            </a:lvl1pPr>
            <a:lvl2pPr marL="226345" indent="0">
              <a:buFontTx/>
              <a:buNone/>
              <a:defRPr sz="2400">
                <a:solidFill>
                  <a:schemeClr val="bg2"/>
                </a:solidFill>
              </a:defRPr>
            </a:lvl2pPr>
            <a:lvl3pPr marL="452690" indent="0">
              <a:buFontTx/>
              <a:buNone/>
              <a:defRPr sz="2400">
                <a:solidFill>
                  <a:schemeClr val="bg2"/>
                </a:solidFill>
              </a:defRPr>
            </a:lvl3pPr>
            <a:lvl4pPr marL="679035" indent="0">
              <a:buFontTx/>
              <a:buNone/>
              <a:defRPr sz="2400">
                <a:solidFill>
                  <a:schemeClr val="bg2"/>
                </a:solidFill>
              </a:defRPr>
            </a:lvl4pPr>
            <a:lvl5pPr marL="905380" indent="0">
              <a:buFontTx/>
              <a:buNone/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Pladsholder til tekst 9">
            <a:extLst>
              <a:ext uri="{FF2B5EF4-FFF2-40B4-BE49-F238E27FC236}">
                <a16:creationId xmlns:a16="http://schemas.microsoft.com/office/drawing/2014/main" id="{C9DEC187-92B0-4AC2-B6F0-10D47BB0EF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200" y="6120000"/>
            <a:ext cx="4807748" cy="331200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solidFill>
                  <a:schemeClr val="bg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56744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4" name="Pladsholder til indhold 2"/>
          <p:cNvSpPr>
            <a:spLocks noGrp="1"/>
          </p:cNvSpPr>
          <p:nvPr>
            <p:ph sz="quarter" idx="13"/>
          </p:nvPr>
        </p:nvSpPr>
        <p:spPr>
          <a:xfrm>
            <a:off x="651687" y="1196424"/>
            <a:ext cx="5347914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Pladsholder til indhold 3"/>
          <p:cNvSpPr>
            <a:spLocks noGrp="1"/>
          </p:cNvSpPr>
          <p:nvPr>
            <p:ph sz="quarter" idx="14"/>
          </p:nvPr>
        </p:nvSpPr>
        <p:spPr>
          <a:xfrm>
            <a:off x="6192012" y="1196424"/>
            <a:ext cx="5348944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>
          <a:xfrm>
            <a:off x="13326566" y="6398803"/>
            <a:ext cx="2844800" cy="365125"/>
          </a:xfrm>
          <a:prstGeom prst="rect">
            <a:avLst/>
          </a:prstGeom>
        </p:spPr>
        <p:txBody>
          <a:bodyPr/>
          <a:lstStyle/>
          <a:p>
            <a:fld id="{B572A3FE-77C9-4B67-B0EB-2667691622DC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1" name="Gruppe 10"/>
          <p:cNvGrpSpPr/>
          <p:nvPr userDrawn="1"/>
        </p:nvGrpSpPr>
        <p:grpSpPr>
          <a:xfrm>
            <a:off x="-2406368" y="1204883"/>
            <a:ext cx="2406370" cy="2221782"/>
            <a:chOff x="-2405743" y="1655465"/>
            <a:chExt cx="2405743" cy="2221782"/>
          </a:xfrm>
        </p:grpSpPr>
        <p:pic>
          <p:nvPicPr>
            <p:cNvPr id="12" name="Billede 1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3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07593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2 pkt. grøn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9457" y="332656"/>
            <a:ext cx="10891498" cy="862732"/>
          </a:xfrm>
        </p:spPr>
        <p:txBody>
          <a:bodyPr/>
          <a:lstStyle>
            <a:lvl1pPr>
              <a:lnSpc>
                <a:spcPct val="88000"/>
              </a:lnSpc>
              <a:defRPr sz="3199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49457" y="1628779"/>
            <a:ext cx="10891498" cy="3600425"/>
          </a:xfrm>
        </p:spPr>
        <p:txBody>
          <a:bodyPr/>
          <a:lstStyle>
            <a:lvl1pPr>
              <a:lnSpc>
                <a:spcPct val="88000"/>
              </a:lnSpc>
              <a:buFontTx/>
              <a:buNone/>
              <a:defRPr sz="3199">
                <a:solidFill>
                  <a:schemeClr val="tx2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0E139D-53C7-46BB-8B72-237DB6DA1E55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3DE5C32-D24F-4B1C-8EA9-48D518B475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6924" y="6379014"/>
            <a:ext cx="226991" cy="201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7649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1771" y="311972"/>
            <a:ext cx="6983048" cy="46800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195391"/>
            <a:ext cx="6982713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8025313" y="0"/>
            <a:ext cx="4166686" cy="6858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FBDF29F-EC00-4C0A-B0EB-9065D09E6DDE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21" name="Gruppe 20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2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3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4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5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grpSp>
        <p:nvGrpSpPr>
          <p:cNvPr id="27" name="Gruppe 26"/>
          <p:cNvGrpSpPr/>
          <p:nvPr userDrawn="1"/>
        </p:nvGrpSpPr>
        <p:grpSpPr>
          <a:xfrm>
            <a:off x="-2406368" y="1204883"/>
            <a:ext cx="2406370" cy="2221782"/>
            <a:chOff x="-2405743" y="1655465"/>
            <a:chExt cx="2405743" cy="2221782"/>
          </a:xfrm>
        </p:grpSpPr>
        <p:pic>
          <p:nvPicPr>
            <p:cNvPr id="28" name="Billede 27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29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5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5753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1770" y="311972"/>
            <a:ext cx="5352598" cy="8127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195391"/>
            <a:ext cx="5352261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364124" y="0"/>
            <a:ext cx="582787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23B474-9B07-47AA-AF83-1272C0BFB191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9" name="Gruppe 18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0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1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3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grpSp>
        <p:nvGrpSpPr>
          <p:cNvPr id="25" name="Gruppe 24"/>
          <p:cNvGrpSpPr/>
          <p:nvPr userDrawn="1"/>
        </p:nvGrpSpPr>
        <p:grpSpPr>
          <a:xfrm>
            <a:off x="-2406368" y="1204883"/>
            <a:ext cx="2406370" cy="2221782"/>
            <a:chOff x="-2405743" y="1655465"/>
            <a:chExt cx="2405743" cy="2221782"/>
          </a:xfrm>
        </p:grpSpPr>
        <p:pic>
          <p:nvPicPr>
            <p:cNvPr id="26" name="Billede 25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2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5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96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rvet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noFill/>
          <a:ln>
            <a:noFill/>
          </a:ln>
        </p:spPr>
        <p:txBody>
          <a:bodyPr tIns="144000"/>
          <a:lstStyle>
            <a:lvl1pPr algn="ctr">
              <a:defRPr sz="13396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4056000" y="0"/>
            <a:ext cx="4080001" cy="6858000"/>
          </a:xfrm>
          <a:solidFill>
            <a:schemeClr val="accent1"/>
          </a:solidFill>
          <a:ln>
            <a:noFill/>
          </a:ln>
        </p:spPr>
        <p:txBody>
          <a:bodyPr tIns="144000"/>
          <a:lstStyle>
            <a:lvl1pPr algn="ctr">
              <a:defRPr sz="13396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4" name="Pladsholder til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30006" y="0"/>
            <a:ext cx="4080001" cy="6858000"/>
          </a:xfrm>
          <a:solidFill>
            <a:schemeClr val="accent2"/>
          </a:solidFill>
          <a:ln>
            <a:noFill/>
          </a:ln>
        </p:spPr>
        <p:txBody>
          <a:bodyPr tIns="144000"/>
          <a:lstStyle>
            <a:lvl1pPr algn="ctr">
              <a:defRPr sz="13396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6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1999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7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05600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1999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8" name="Pladsholder til tekst 6"/>
          <p:cNvSpPr>
            <a:spLocks noGrp="1"/>
          </p:cNvSpPr>
          <p:nvPr>
            <p:ph type="body" sz="quarter" idx="18"/>
          </p:nvPr>
        </p:nvSpPr>
        <p:spPr>
          <a:xfrm>
            <a:off x="8130006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1999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329F07-AA67-43EE-8B7B-AC2D8D13230E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B94044-16A8-41C9-A35E-F2CAB1B351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2144" y="0"/>
            <a:ext cx="1378027" cy="1033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0080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med bille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noFill/>
          <a:ln>
            <a:noFill/>
          </a:ln>
        </p:spPr>
        <p:txBody>
          <a:bodyPr tIns="144000"/>
          <a:lstStyle>
            <a:lvl1pPr algn="ctr">
              <a:defRPr sz="13396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1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1999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4056186" y="0"/>
            <a:ext cx="813581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D6F463-4392-4F3F-BC18-A141B7F36D6B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20" name="Gruppe 19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1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2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4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5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551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med bille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solidFill>
            <a:schemeClr val="accent1"/>
          </a:solidFill>
          <a:ln>
            <a:noFill/>
          </a:ln>
        </p:spPr>
        <p:txBody>
          <a:bodyPr tIns="144000"/>
          <a:lstStyle>
            <a:lvl1pPr algn="ctr">
              <a:defRPr sz="13396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1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1999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5"/>
                </a:solidFill>
              </a:defRPr>
            </a:lvl6pPr>
            <a:lvl7pPr>
              <a:defRPr>
                <a:solidFill>
                  <a:schemeClr val="accent5"/>
                </a:solidFill>
              </a:defRPr>
            </a:lvl7pPr>
            <a:lvl8pPr>
              <a:defRPr>
                <a:solidFill>
                  <a:schemeClr val="accent5"/>
                </a:solidFill>
              </a:defRPr>
            </a:lvl8pPr>
            <a:lvl9pPr>
              <a:defRPr>
                <a:solidFill>
                  <a:schemeClr val="accent5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4056186" y="0"/>
            <a:ext cx="813581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3FFB2D-84CB-4566-868E-9A3CD3A99FEB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9" name="Gruppe 18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0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126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126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1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3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1999" noProof="1"/>
              </a:p>
            </p:txBody>
          </p:sp>
        </p:grpSp>
      </p:grpSp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3"/>
          <a:stretch/>
        </p:blipFill>
        <p:spPr>
          <a:xfrm>
            <a:off x="-1826942" y="0"/>
            <a:ext cx="1682825" cy="10334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A2D3FA-344F-4AB0-A06C-7B19E86FF2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826944" y="0"/>
            <a:ext cx="455875" cy="1033434"/>
          </a:xfrm>
          <a:prstGeom prst="rect">
            <a:avLst/>
          </a:prstGeom>
        </p:spPr>
      </p:pic>
      <p:sp>
        <p:nvSpPr>
          <p:cNvPr id="18" name="Pladsholder logo">
            <a:extLst>
              <a:ext uri="{FF2B5EF4-FFF2-40B4-BE49-F238E27FC236}">
                <a16:creationId xmlns:a16="http://schemas.microsoft.com/office/drawing/2014/main" id="{9DE59FF4-743D-4F47-8B8E-0880DAC8CB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5841" y="6378872"/>
            <a:ext cx="223258" cy="201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05053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4056002" y="0"/>
            <a:ext cx="813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651770" y="311151"/>
            <a:ext cx="3142286" cy="5770562"/>
          </a:xfrm>
        </p:spPr>
        <p:txBody>
          <a:bodyPr/>
          <a:lstStyle>
            <a:lvl1pPr>
              <a:lnSpc>
                <a:spcPct val="92000"/>
              </a:lnSpc>
              <a:defRPr sz="1799" baseline="0">
                <a:solidFill>
                  <a:schemeClr val="accent1"/>
                </a:solidFill>
              </a:defRPr>
            </a:lvl1pPr>
            <a:lvl2pPr marL="0" indent="0">
              <a:lnSpc>
                <a:spcPct val="92000"/>
              </a:lnSpc>
              <a:buFont typeface="Arial" panose="020B0604020202020204" pitchFamily="34" charset="0"/>
              <a:buChar char="​"/>
              <a:defRPr sz="1799">
                <a:solidFill>
                  <a:schemeClr val="accent2"/>
                </a:solidFill>
              </a:defRPr>
            </a:lvl2pPr>
            <a:lvl3pPr marL="215935" indent="-215935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431870">
              <a:defRPr>
                <a:solidFill>
                  <a:schemeClr val="accent1"/>
                </a:solidFill>
              </a:defRPr>
            </a:lvl4pPr>
            <a:lvl5pPr marL="647806">
              <a:defRPr>
                <a:solidFill>
                  <a:schemeClr val="accent1"/>
                </a:solidFill>
              </a:defRPr>
            </a:lvl5pPr>
            <a:lvl6pPr marL="647806">
              <a:defRPr>
                <a:solidFill>
                  <a:schemeClr val="accent1"/>
                </a:solidFill>
              </a:defRPr>
            </a:lvl6pPr>
            <a:lvl7pPr marL="647806">
              <a:defRPr>
                <a:solidFill>
                  <a:schemeClr val="accent1"/>
                </a:solidFill>
              </a:defRPr>
            </a:lvl7pPr>
            <a:lvl8pPr marL="647806">
              <a:defRPr>
                <a:solidFill>
                  <a:schemeClr val="accent1"/>
                </a:solidFill>
              </a:defRPr>
            </a:lvl8pPr>
            <a:lvl9pPr marL="647806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a-DK" dirty="0"/>
              <a:t>Klik for at tilføje tekst - Gul tekst får du ved at bruge TAB-knapp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5455" y="1195391"/>
            <a:ext cx="683550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799"/>
            </a:lvl1pPr>
            <a:lvl2pPr>
              <a:lnSpc>
                <a:spcPct val="92000"/>
              </a:lnSpc>
              <a:defRPr sz="1799"/>
            </a:lvl2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5317B35-C0E7-42B5-8754-97160B70E3F0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2" name="Gruppe 11"/>
          <p:cNvGrpSpPr/>
          <p:nvPr userDrawn="1"/>
        </p:nvGrpSpPr>
        <p:grpSpPr>
          <a:xfrm>
            <a:off x="-2406368" y="311151"/>
            <a:ext cx="2406370" cy="2052668"/>
            <a:chOff x="-2405743" y="1655465"/>
            <a:chExt cx="2405743" cy="2052668"/>
          </a:xfrm>
        </p:grpSpPr>
        <p:pic>
          <p:nvPicPr>
            <p:cNvPr id="17" name="Billede 16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8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sort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Tekst grøn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6B8D433-56A8-49A9-8527-A24257F081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524329" y="5824566"/>
            <a:ext cx="1380212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234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651771" y="311151"/>
            <a:ext cx="3137235" cy="5770562"/>
          </a:xfrm>
        </p:spPr>
        <p:txBody>
          <a:bodyPr/>
          <a:lstStyle>
            <a:lvl1pPr>
              <a:lnSpc>
                <a:spcPct val="92000"/>
              </a:lnSpc>
              <a:defRPr sz="1799">
                <a:solidFill>
                  <a:schemeClr val="accent1"/>
                </a:solidFill>
              </a:defRPr>
            </a:lvl1pPr>
            <a:lvl2pPr marL="0" indent="0">
              <a:lnSpc>
                <a:spcPct val="92000"/>
              </a:lnSpc>
              <a:buFont typeface="Arial" panose="020B0604020202020204" pitchFamily="34" charset="0"/>
              <a:buChar char="​"/>
              <a:defRPr sz="1799">
                <a:solidFill>
                  <a:schemeClr val="accent2"/>
                </a:solidFill>
              </a:defRPr>
            </a:lvl2pPr>
            <a:lvl3pPr marL="287914" indent="-215935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431870">
              <a:defRPr>
                <a:solidFill>
                  <a:schemeClr val="accent1"/>
                </a:solidFill>
              </a:defRPr>
            </a:lvl4pPr>
            <a:lvl5pPr marL="647806">
              <a:defRPr>
                <a:solidFill>
                  <a:schemeClr val="accent1"/>
                </a:solidFill>
              </a:defRPr>
            </a:lvl5pPr>
            <a:lvl6pPr marL="647806">
              <a:defRPr/>
            </a:lvl6pPr>
            <a:lvl7pPr marL="647806">
              <a:defRPr/>
            </a:lvl7pPr>
            <a:lvl8pPr marL="647806">
              <a:defRPr/>
            </a:lvl8pPr>
            <a:lvl9pPr marL="647806">
              <a:defRPr/>
            </a:lvl9pPr>
          </a:lstStyle>
          <a:p>
            <a:pPr lvl="0"/>
            <a:r>
              <a:rPr lang="da-DK" dirty="0"/>
              <a:t>Klik for at tilføje tekst - Gul tekst får du ved at bruge TAB-knapp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6426" y="1195391"/>
            <a:ext cx="683458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799"/>
            </a:lvl1pPr>
            <a:lvl2pPr>
              <a:lnSpc>
                <a:spcPct val="92000"/>
              </a:lnSpc>
              <a:defRPr sz="1799"/>
            </a:lvl2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8D71F6-7CB9-4054-98DC-9C860B9E0F9D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4" name="Gruppe 13"/>
          <p:cNvGrpSpPr/>
          <p:nvPr userDrawn="1"/>
        </p:nvGrpSpPr>
        <p:grpSpPr>
          <a:xfrm>
            <a:off x="-2406368" y="311151"/>
            <a:ext cx="2406370" cy="2052668"/>
            <a:chOff x="-2405743" y="1655465"/>
            <a:chExt cx="2405743" cy="2052668"/>
          </a:xfrm>
        </p:grpSpPr>
        <p:pic>
          <p:nvPicPr>
            <p:cNvPr id="15" name="Billede 14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6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sort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Tekst grøn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5CAF416C-E3FF-476D-B7B9-BEDE66E405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924" y="6379014"/>
            <a:ext cx="226991" cy="2014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55A2EA-4672-426D-B407-F84D361F392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20452" y="5824565"/>
            <a:ext cx="1376335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7128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ctr"/>
          <a:lstStyle/>
          <a:p>
            <a:pPr algn="ctr"/>
            <a:endParaRPr lang="da-DK" sz="1799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51770" y="311151"/>
            <a:ext cx="3142286" cy="5770562"/>
          </a:xfrm>
        </p:spPr>
        <p:txBody>
          <a:bodyPr/>
          <a:lstStyle>
            <a:lvl1pPr>
              <a:lnSpc>
                <a:spcPct val="92000"/>
              </a:lnSpc>
              <a:defRPr sz="1799">
                <a:solidFill>
                  <a:schemeClr val="bg1"/>
                </a:solidFill>
              </a:defRPr>
            </a:lvl1pPr>
            <a:lvl2pPr marL="215935" indent="-215935">
              <a:lnSpc>
                <a:spcPct val="92000"/>
              </a:lnSpc>
              <a:buFont typeface="Arial" panose="020B0604020202020204" pitchFamily="34" charset="0"/>
              <a:buChar char="•"/>
              <a:defRPr sz="1799">
                <a:solidFill>
                  <a:schemeClr val="bg1"/>
                </a:solidFill>
              </a:defRPr>
            </a:lvl2pPr>
            <a:lvl3pPr marL="215935" indent="-215935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431870">
              <a:defRPr>
                <a:solidFill>
                  <a:schemeClr val="bg1"/>
                </a:solidFill>
              </a:defRPr>
            </a:lvl4pPr>
            <a:lvl5pPr marL="647806">
              <a:defRPr>
                <a:solidFill>
                  <a:schemeClr val="bg1"/>
                </a:solidFill>
              </a:defRPr>
            </a:lvl5pPr>
            <a:lvl6pPr marL="647806">
              <a:defRPr>
                <a:solidFill>
                  <a:schemeClr val="bg1"/>
                </a:solidFill>
              </a:defRPr>
            </a:lvl6pPr>
            <a:lvl7pPr marL="647806">
              <a:defRPr>
                <a:solidFill>
                  <a:schemeClr val="bg1"/>
                </a:solidFill>
              </a:defRPr>
            </a:lvl7pPr>
            <a:lvl8pPr marL="647806">
              <a:defRPr>
                <a:solidFill>
                  <a:schemeClr val="bg1"/>
                </a:solidFill>
              </a:defRPr>
            </a:lvl8pPr>
            <a:lvl9pPr marL="647806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6426" y="1195391"/>
            <a:ext cx="683458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799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8BA726B-225E-400A-8949-1C5C7EEC414A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3" name="Gruppe 12"/>
          <p:cNvGrpSpPr/>
          <p:nvPr userDrawn="1"/>
        </p:nvGrpSpPr>
        <p:grpSpPr>
          <a:xfrm>
            <a:off x="-2406368" y="311151"/>
            <a:ext cx="2406370" cy="2052668"/>
            <a:chOff x="-2405743" y="1655465"/>
            <a:chExt cx="2405743" cy="2052668"/>
          </a:xfrm>
        </p:grpSpPr>
        <p:pic>
          <p:nvPicPr>
            <p:cNvPr id="14" name="Billede 13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9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hvid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indryk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2B4A2A7-E0DF-43AF-9884-B5E675E8DA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924" y="6379014"/>
            <a:ext cx="226991" cy="2014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416D25-19C0-4700-976D-ECA48816B3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8522" y="5824569"/>
            <a:ext cx="1374404" cy="1033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797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>
            <a:extLst>
              <a:ext uri="{FF2B5EF4-FFF2-40B4-BE49-F238E27FC236}">
                <a16:creationId xmlns:a16="http://schemas.microsoft.com/office/drawing/2014/main" id="{110ED372-47B2-4A33-AEFA-182E2072B2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639" y="6025976"/>
            <a:ext cx="828000" cy="332101"/>
          </a:xfrm>
          <a:prstGeom prst="rect">
            <a:avLst/>
          </a:prstGeom>
        </p:spPr>
      </p:pic>
      <p:sp>
        <p:nvSpPr>
          <p:cNvPr id="18" name="Pladsholder til billede 17">
            <a:extLst>
              <a:ext uri="{FF2B5EF4-FFF2-40B4-BE49-F238E27FC236}">
                <a16:creationId xmlns:a16="http://schemas.microsoft.com/office/drawing/2014/main" id="{5156109B-6456-499C-826A-F40323EF84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156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576853 h 6858000"/>
              <a:gd name="connsiteX5" fmla="*/ 4802244 w 12192000"/>
              <a:gd name="connsiteY5" fmla="*/ 5576853 h 6858000"/>
              <a:gd name="connsiteX6" fmla="*/ 4802244 w 12192000"/>
              <a:gd name="connsiteY6" fmla="*/ 1281146 h 6858000"/>
              <a:gd name="connsiteX7" fmla="*/ 0 w 12192000"/>
              <a:gd name="connsiteY7" fmla="*/ 12811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576853"/>
                </a:lnTo>
                <a:lnTo>
                  <a:pt x="4802244" y="5576853"/>
                </a:lnTo>
                <a:lnTo>
                  <a:pt x="4802244" y="1281146"/>
                </a:lnTo>
                <a:lnTo>
                  <a:pt x="0" y="128114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a-DK" dirty="0"/>
              <a:t>Klik på ikonet for at indsætte et billede – husk Vejle Logo skal være på billede – det på skærmen overskrives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11C5982-26D2-4A3E-8F05-EBC8880D0FB4}"/>
              </a:ext>
            </a:extLst>
          </p:cNvPr>
          <p:cNvSpPr/>
          <p:nvPr userDrawn="1"/>
        </p:nvSpPr>
        <p:spPr>
          <a:xfrm>
            <a:off x="-13157" y="1281147"/>
            <a:ext cx="4854872" cy="42957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8" y="2988000"/>
            <a:ext cx="4079686" cy="1672863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1E718B0-B1C3-49DA-80D7-016684D3C7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8117" y="2196000"/>
            <a:ext cx="4079686" cy="396000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226346" indent="0" algn="ctr">
              <a:buNone/>
              <a:defRPr sz="991"/>
            </a:lvl2pPr>
            <a:lvl3pPr marL="452691" indent="0" algn="ctr">
              <a:buNone/>
              <a:defRPr sz="892"/>
            </a:lvl3pPr>
            <a:lvl4pPr marL="679038" indent="0" algn="ctr">
              <a:buNone/>
              <a:defRPr sz="792"/>
            </a:lvl4pPr>
            <a:lvl5pPr marL="905381" indent="0" algn="ctr">
              <a:buNone/>
              <a:defRPr sz="792"/>
            </a:lvl5pPr>
            <a:lvl6pPr marL="1131726" indent="0" algn="ctr">
              <a:buNone/>
              <a:defRPr sz="792"/>
            </a:lvl6pPr>
            <a:lvl7pPr marL="1358071" indent="0" algn="ctr">
              <a:buNone/>
              <a:defRPr sz="792"/>
            </a:lvl7pPr>
            <a:lvl8pPr marL="1584415" indent="0" algn="ctr">
              <a:buNone/>
              <a:defRPr sz="792"/>
            </a:lvl8pPr>
            <a:lvl9pPr marL="1810760" indent="0" algn="ctr">
              <a:buNone/>
              <a:defRPr sz="792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13" name="Pladsholder til tekst 9">
            <a:extLst>
              <a:ext uri="{FF2B5EF4-FFF2-40B4-BE49-F238E27FC236}">
                <a16:creationId xmlns:a16="http://schemas.microsoft.com/office/drawing/2014/main" id="{3D1827FE-AA93-45B2-8B48-508F2502D2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19999"/>
            <a:ext cx="4854871" cy="332101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solidFill>
                  <a:schemeClr val="tx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solidFill>
                  <a:schemeClr val="bg1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1080301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49458" y="311151"/>
            <a:ext cx="4294414" cy="5770562"/>
          </a:xfrm>
        </p:spPr>
        <p:txBody>
          <a:bodyPr/>
          <a:lstStyle>
            <a:lvl1pPr>
              <a:lnSpc>
                <a:spcPct val="88000"/>
              </a:lnSpc>
              <a:defRPr sz="3199">
                <a:solidFill>
                  <a:schemeClr val="accent2"/>
                </a:solidFill>
              </a:defRPr>
            </a:lvl1pPr>
            <a:lvl2pPr marL="0" indent="0">
              <a:lnSpc>
                <a:spcPct val="94000"/>
              </a:lnSpc>
              <a:buFont typeface="Arial" panose="020B0604020202020204" pitchFamily="34" charset="0"/>
              <a:buChar char="​"/>
              <a:defRPr sz="1500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5808191" y="311154"/>
            <a:ext cx="5732764" cy="5770563"/>
          </a:xfrm>
          <a:noFill/>
        </p:spPr>
        <p:txBody>
          <a:bodyPr lIns="0" t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0D9FB06-EF9B-4F8E-843F-ECA5D6F1F9FE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6372F5-6CEF-440F-9F33-E912B7635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2144" y="1"/>
            <a:ext cx="1378027" cy="103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637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13326566" y="6398803"/>
            <a:ext cx="2844800" cy="365125"/>
          </a:xfrm>
          <a:prstGeom prst="rect">
            <a:avLst/>
          </a:prstGeom>
        </p:spPr>
        <p:txBody>
          <a:bodyPr/>
          <a:lstStyle/>
          <a:p>
            <a:fld id="{3E5297A3-CD43-4581-AE64-F1CC5697CF7F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6228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13326566" y="6398803"/>
            <a:ext cx="2844800" cy="365125"/>
          </a:xfrm>
          <a:prstGeom prst="rect">
            <a:avLst/>
          </a:prstGeom>
        </p:spPr>
        <p:txBody>
          <a:bodyPr/>
          <a:lstStyle/>
          <a:p>
            <a:fld id="{97ED405A-FAB1-4E93-AB64-B1034F3D4BFD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751216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sp>
        <p:nvSpPr>
          <p:cNvPr id="14" name="Rektangel baggr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8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8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0" y="5780918"/>
            <a:ext cx="2249411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00A86713-F3D7-4413-B60D-41B829BA73D8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7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7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AutoShape 4"/>
          <p:cNvSpPr>
            <a:spLocks/>
          </p:cNvSpPr>
          <p:nvPr userDrawn="1"/>
        </p:nvSpPr>
        <p:spPr bwMode="gray">
          <a:xfrm>
            <a:off x="12192001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400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1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sp>
        <p:nvSpPr>
          <p:cNvPr id="2" name="Tekstfelt 1"/>
          <p:cNvSpPr txBox="1"/>
          <p:nvPr userDrawn="1"/>
        </p:nvSpPr>
        <p:spPr>
          <a:xfrm>
            <a:off x="-2056135" y="1196589"/>
            <a:ext cx="2054877" cy="138499"/>
          </a:xfrm>
          <a:prstGeom prst="rect">
            <a:avLst/>
          </a:prstGeom>
          <a:noFill/>
        </p:spPr>
        <p:txBody>
          <a:bodyPr wrap="square" lIns="0" tIns="0" rIns="144000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555A78-9821-4BB3-859E-F5047E7492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862" y="6003169"/>
            <a:ext cx="1554234" cy="982380"/>
          </a:xfrm>
          <a:prstGeom prst="rect">
            <a:avLst/>
          </a:prstGeom>
        </p:spPr>
      </p:pic>
      <p:sp>
        <p:nvSpPr>
          <p:cNvPr id="26" name="Rectangle 6"/>
          <p:cNvSpPr/>
          <p:nvPr userDrawn="1"/>
        </p:nvSpPr>
        <p:spPr>
          <a:xfrm>
            <a:off x="-1399565" y="6011706"/>
            <a:ext cx="1233922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4D2852-23AA-4402-9048-04C6ACDBCA3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525872" y="1"/>
            <a:ext cx="1378029" cy="10350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47381C9-146F-4DBB-990B-7556C500D4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4510" y="343489"/>
            <a:ext cx="2849271" cy="72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9125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baggr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8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8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0" y="5780918"/>
            <a:ext cx="2249411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940A6639-84EE-4880-AB07-D4D984BF5062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7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7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pic>
        <p:nvPicPr>
          <p:cNvPr id="13" name="Billede 19">
            <a:extLst>
              <a:ext uri="{FF2B5EF4-FFF2-40B4-BE49-F238E27FC236}">
                <a16:creationId xmlns:a16="http://schemas.microsoft.com/office/drawing/2014/main" id="{AF9B4854-AC56-4DF7-95FA-8506604781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50B2A0D-954C-468A-99A0-E86A2409EA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862" y="6003169"/>
            <a:ext cx="1554234" cy="982380"/>
          </a:xfrm>
          <a:prstGeom prst="rect">
            <a:avLst/>
          </a:prstGeom>
        </p:spPr>
      </p:pic>
      <p:sp>
        <p:nvSpPr>
          <p:cNvPr id="17" name="Rectangle 6">
            <a:extLst>
              <a:ext uri="{FF2B5EF4-FFF2-40B4-BE49-F238E27FC236}">
                <a16:creationId xmlns:a16="http://schemas.microsoft.com/office/drawing/2014/main" id="{0293960A-CA50-4566-915B-53878615FB36}"/>
              </a:ext>
            </a:extLst>
          </p:cNvPr>
          <p:cNvSpPr/>
          <p:nvPr userDrawn="1"/>
        </p:nvSpPr>
        <p:spPr>
          <a:xfrm>
            <a:off x="-1399565" y="6011706"/>
            <a:ext cx="1233922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3F3EB77-4819-4885-869F-3E97B4AB39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76098" y="343489"/>
            <a:ext cx="2849269" cy="72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6715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30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8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31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8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3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0" y="5780918"/>
            <a:ext cx="2249411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638708A5-9019-4FA3-9F5D-085DAF3D9C2C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3" name="Pladsholder logo"/>
          <p:cNvSpPr>
            <a:spLocks noGrp="1"/>
          </p:cNvSpPr>
          <p:nvPr>
            <p:ph type="body" sz="quarter" idx="18" hasCustomPrompt="1"/>
          </p:nvPr>
        </p:nvSpPr>
        <p:spPr>
          <a:xfrm>
            <a:off x="9076097" y="344805"/>
            <a:ext cx="2849269" cy="71944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7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7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5" y="0"/>
            <a:ext cx="1843475" cy="1037417"/>
          </a:xfrm>
          <a:prstGeom prst="rect">
            <a:avLst/>
          </a:prstGeom>
        </p:spPr>
      </p:pic>
      <p:sp>
        <p:nvSpPr>
          <p:cNvPr id="38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grpSp>
        <p:nvGrpSpPr>
          <p:cNvPr id="41" name="Gruppe 40"/>
          <p:cNvGrpSpPr/>
          <p:nvPr userDrawn="1"/>
        </p:nvGrpSpPr>
        <p:grpSpPr>
          <a:xfrm>
            <a:off x="12192000" y="1941320"/>
            <a:ext cx="2032529" cy="3185487"/>
            <a:chOff x="9150825" y="2171823"/>
            <a:chExt cx="2032000" cy="3185487"/>
          </a:xfrm>
        </p:grpSpPr>
        <p:sp>
          <p:nvSpPr>
            <p:cNvPr id="42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18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3" name="Billede 7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50" name="Billede 79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sp>
        <p:nvSpPr>
          <p:cNvPr id="52" name="AutoShape 4"/>
          <p:cNvSpPr>
            <a:spLocks/>
          </p:cNvSpPr>
          <p:nvPr userDrawn="1"/>
        </p:nvSpPr>
        <p:spPr bwMode="gray">
          <a:xfrm>
            <a:off x="12192001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400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6" name="Tekstfelt 25"/>
          <p:cNvSpPr txBox="1"/>
          <p:nvPr userDrawn="1"/>
        </p:nvSpPr>
        <p:spPr>
          <a:xfrm>
            <a:off x="-2056135" y="1196589"/>
            <a:ext cx="2054877" cy="138499"/>
          </a:xfrm>
          <a:prstGeom prst="rect">
            <a:avLst/>
          </a:prstGeom>
          <a:noFill/>
        </p:spPr>
        <p:txBody>
          <a:bodyPr wrap="square" lIns="0" tIns="0" rIns="144000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27" name="Billede 28">
            <a:extLst>
              <a:ext uri="{FF2B5EF4-FFF2-40B4-BE49-F238E27FC236}">
                <a16:creationId xmlns:a16="http://schemas.microsoft.com/office/drawing/2014/main" id="{4BDA21CA-314B-4079-82E5-B8955DE6FA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98" b="83642"/>
          <a:stretch/>
        </p:blipFill>
        <p:spPr>
          <a:xfrm>
            <a:off x="-1456744" y="16588"/>
            <a:ext cx="1308902" cy="1696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9CAE5B1-1DFB-4F1F-9B9E-4457F154CA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6787" y="57326"/>
            <a:ext cx="357409" cy="78113"/>
          </a:xfrm>
          <a:prstGeom prst="rect">
            <a:avLst/>
          </a:prstGeom>
        </p:spPr>
      </p:pic>
      <p:pic>
        <p:nvPicPr>
          <p:cNvPr id="28" name="Billede 19">
            <a:extLst>
              <a:ext uri="{FF2B5EF4-FFF2-40B4-BE49-F238E27FC236}">
                <a16:creationId xmlns:a16="http://schemas.microsoft.com/office/drawing/2014/main" id="{EDC978E1-7915-4A02-8689-74877FAD036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D97E1ED-C622-4A04-9F5A-D949B33AE66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702862" y="6003169"/>
            <a:ext cx="1554234" cy="982380"/>
          </a:xfrm>
          <a:prstGeom prst="rect">
            <a:avLst/>
          </a:prstGeom>
        </p:spPr>
      </p:pic>
      <p:sp>
        <p:nvSpPr>
          <p:cNvPr id="34" name="Rectangle 6">
            <a:extLst>
              <a:ext uri="{FF2B5EF4-FFF2-40B4-BE49-F238E27FC236}">
                <a16:creationId xmlns:a16="http://schemas.microsoft.com/office/drawing/2014/main" id="{46438CD4-981B-4E19-87A4-A43C8BDDFCEE}"/>
              </a:ext>
            </a:extLst>
          </p:cNvPr>
          <p:cNvSpPr/>
          <p:nvPr userDrawn="1"/>
        </p:nvSpPr>
        <p:spPr>
          <a:xfrm>
            <a:off x="-1399565" y="6011706"/>
            <a:ext cx="469683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13559267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14269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7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7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580648" y="5229200"/>
            <a:ext cx="2251259" cy="54423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34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9580648" y="5961288"/>
            <a:ext cx="2251259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41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9582770" y="5780918"/>
            <a:ext cx="2249411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49919875-58B6-4507-BAF6-BDF93F3D21F5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5. november 2025</a:t>
            </a:fld>
            <a:endParaRPr lang="da-DK" dirty="0"/>
          </a:p>
        </p:txBody>
      </p:sp>
      <p:sp>
        <p:nvSpPr>
          <p:cNvPr id="43" name="Tekstboks 25"/>
          <p:cNvSpPr txBox="1"/>
          <p:nvPr userDrawn="1"/>
        </p:nvSpPr>
        <p:spPr>
          <a:xfrm>
            <a:off x="-1710484" y="4763279"/>
            <a:ext cx="1705046" cy="969496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grpSp>
        <p:nvGrpSpPr>
          <p:cNvPr id="46" name="Gruppe 45"/>
          <p:cNvGrpSpPr/>
          <p:nvPr userDrawn="1"/>
        </p:nvGrpSpPr>
        <p:grpSpPr>
          <a:xfrm>
            <a:off x="12192000" y="1941320"/>
            <a:ext cx="2032529" cy="3185487"/>
            <a:chOff x="9150825" y="2171823"/>
            <a:chExt cx="2032000" cy="3185487"/>
          </a:xfrm>
        </p:grpSpPr>
        <p:sp>
          <p:nvSpPr>
            <p:cNvPr id="47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18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50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sp>
        <p:nvSpPr>
          <p:cNvPr id="52" name="AutoShape 4"/>
          <p:cNvSpPr>
            <a:spLocks/>
          </p:cNvSpPr>
          <p:nvPr userDrawn="1"/>
        </p:nvSpPr>
        <p:spPr bwMode="gray">
          <a:xfrm>
            <a:off x="12192001" y="16587"/>
            <a:ext cx="1754916" cy="1313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14400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sp>
        <p:nvSpPr>
          <p:cNvPr id="28" name="Tekstfelt 27"/>
          <p:cNvSpPr txBox="1"/>
          <p:nvPr userDrawn="1"/>
        </p:nvSpPr>
        <p:spPr>
          <a:xfrm>
            <a:off x="-2056135" y="1196589"/>
            <a:ext cx="2054877" cy="138499"/>
          </a:xfrm>
          <a:prstGeom prst="rect">
            <a:avLst/>
          </a:prstGeom>
          <a:noFill/>
        </p:spPr>
        <p:txBody>
          <a:bodyPr wrap="square" lIns="0" tIns="0" rIns="144000" bIns="0" rtlCol="0">
            <a:spAutoFit/>
          </a:bodyPr>
          <a:lstStyle/>
          <a:p>
            <a:pPr algn="r"/>
            <a:r>
              <a:rPr lang="da-DK" sz="9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1D64C0-0EC3-4E80-98AB-8C716D92DB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980515" y="0"/>
            <a:ext cx="1853756" cy="1042466"/>
          </a:xfrm>
          <a:prstGeom prst="rect">
            <a:avLst/>
          </a:prstGeom>
        </p:spPr>
      </p:pic>
      <p:pic>
        <p:nvPicPr>
          <p:cNvPr id="25" name="Billede 19">
            <a:extLst>
              <a:ext uri="{FF2B5EF4-FFF2-40B4-BE49-F238E27FC236}">
                <a16:creationId xmlns:a16="http://schemas.microsoft.com/office/drawing/2014/main" id="{5B9D90F4-EA5E-4AAA-A5BD-6419EA9958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702862" y="5779574"/>
            <a:ext cx="1555020" cy="108213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319DE53-4437-4899-A8EB-F511B32945B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702862" y="6003169"/>
            <a:ext cx="1554234" cy="982380"/>
          </a:xfrm>
          <a:prstGeom prst="rect">
            <a:avLst/>
          </a:prstGeom>
        </p:spPr>
      </p:pic>
      <p:sp>
        <p:nvSpPr>
          <p:cNvPr id="30" name="Rectangle 6">
            <a:extLst>
              <a:ext uri="{FF2B5EF4-FFF2-40B4-BE49-F238E27FC236}">
                <a16:creationId xmlns:a16="http://schemas.microsoft.com/office/drawing/2014/main" id="{9626D6E3-AD3F-4FC6-81EE-28F194580E64}"/>
              </a:ext>
            </a:extLst>
          </p:cNvPr>
          <p:cNvSpPr/>
          <p:nvPr userDrawn="1"/>
        </p:nvSpPr>
        <p:spPr>
          <a:xfrm>
            <a:off x="-1399565" y="6011706"/>
            <a:ext cx="469683" cy="94568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/>
          </a:p>
        </p:txBody>
      </p:sp>
      <p:sp>
        <p:nvSpPr>
          <p:cNvPr id="26" name="Pladsholder logo">
            <a:extLst>
              <a:ext uri="{FF2B5EF4-FFF2-40B4-BE49-F238E27FC236}">
                <a16:creationId xmlns:a16="http://schemas.microsoft.com/office/drawing/2014/main" id="{5066B867-BB46-464E-AE62-99F777B250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76133" y="344805"/>
            <a:ext cx="2849269" cy="719443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450958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6"/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 eller indsæt farvet baggrund.</a:t>
            </a:r>
          </a:p>
        </p:txBody>
      </p:sp>
      <p:sp>
        <p:nvSpPr>
          <p:cNvPr id="11" name="Pladsholder til tekst 1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9582095" y="5026816"/>
            <a:ext cx="2250586" cy="576000"/>
          </a:xfrm>
        </p:spPr>
        <p:txBody>
          <a:bodyPr/>
          <a:lstStyle>
            <a:lvl1pPr>
              <a:defRPr lang="da-DK" sz="17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4090639-97BD-43FF-B14F-E291D8B5BDCA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12201100" y="1941320"/>
            <a:ext cx="2709334" cy="3046988"/>
            <a:chOff x="9150825" y="2171823"/>
            <a:chExt cx="2032000" cy="3046988"/>
          </a:xfrm>
        </p:grpSpPr>
        <p:sp>
          <p:nvSpPr>
            <p:cNvPr id="25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304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ips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: Hvis du sletter billedet, og sætter et ny ind, kan billedet lægge sig foran tekst og grafikken, hvis dette sker, skal du vælge billedet, højreklik og vælg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Placer bagest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7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8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5" y="2"/>
            <a:ext cx="1841222" cy="1036149"/>
          </a:xfrm>
          <a:prstGeom prst="rect">
            <a:avLst/>
          </a:prstGeom>
        </p:spPr>
      </p:pic>
      <p:sp>
        <p:nvSpPr>
          <p:cNvPr id="21" name="Pladsholder logo"/>
          <p:cNvSpPr>
            <a:spLocks noGrp="1"/>
          </p:cNvSpPr>
          <p:nvPr>
            <p:ph type="body" sz="quarter" idx="22" hasCustomPrompt="1"/>
          </p:nvPr>
        </p:nvSpPr>
        <p:spPr>
          <a:xfrm>
            <a:off x="655841" y="6378872"/>
            <a:ext cx="223258" cy="201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59278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651770" y="2348880"/>
            <a:ext cx="8757481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9582095" y="5026816"/>
            <a:ext cx="2250586" cy="576000"/>
          </a:xfrm>
        </p:spPr>
        <p:txBody>
          <a:bodyPr/>
          <a:lstStyle>
            <a:lvl1pPr>
              <a:defRPr lang="da-DK" sz="1700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2" name="Pladsholder til dato 1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9981E3-99EF-461B-9128-5ED6761ACA24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116402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1"/>
            <a:ext cx="2844800" cy="365125"/>
          </a:xfrm>
          <a:prstGeom prst="rect">
            <a:avLst/>
          </a:prstGeom>
        </p:spPr>
        <p:txBody>
          <a:bodyPr/>
          <a:lstStyle/>
          <a:p>
            <a:fld id="{B9447CF6-6AE2-4B68-8E3E-1B953C7E8E7B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5" name="Gruppe 14"/>
          <p:cNvGrpSpPr/>
          <p:nvPr userDrawn="1"/>
        </p:nvGrpSpPr>
        <p:grpSpPr>
          <a:xfrm>
            <a:off x="-2406369" y="1204883"/>
            <a:ext cx="2406370" cy="2221782"/>
            <a:chOff x="-2405743" y="1655465"/>
            <a:chExt cx="2405743" cy="2221782"/>
          </a:xfrm>
        </p:grpSpPr>
        <p:pic>
          <p:nvPicPr>
            <p:cNvPr id="16" name="Billede 15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e 17"/>
          <p:cNvGrpSpPr/>
          <p:nvPr userDrawn="1"/>
        </p:nvGrpSpPr>
        <p:grpSpPr>
          <a:xfrm>
            <a:off x="-2477546" y="3682286"/>
            <a:ext cx="2477546" cy="3200761"/>
            <a:chOff x="-2476901" y="3682285"/>
            <a:chExt cx="2476901" cy="3200761"/>
          </a:xfrm>
        </p:grpSpPr>
        <p:sp>
          <p:nvSpPr>
            <p:cNvPr id="21" name="Text Box 48"/>
            <p:cNvSpPr txBox="1">
              <a:spLocks noChangeArrowheads="1"/>
            </p:cNvSpPr>
            <p:nvPr userDrawn="1"/>
          </p:nvSpPr>
          <p:spPr bwMode="auto">
            <a:xfrm>
              <a:off x="-2476901" y="3682285"/>
              <a:ext cx="2476901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b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60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indsætte Sidehoved og 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sæt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 topmenuen 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da-DK" alt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alt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dehoved og 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æt hak i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lidenummer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sæt ønsket indhold i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defod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æl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vend på alle</a:t>
              </a:r>
            </a:p>
            <a:p>
              <a:pPr algn="r" eaLnBrk="1" hangingPunct="1">
                <a:spcAft>
                  <a:spcPts val="24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spcAft>
                  <a:spcPts val="24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ps: </a:t>
              </a:r>
              <a:r>
                <a:rPr lang="da-DK" sz="900" b="0" noProof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ør det som det sidste før du gemmer filen, så det slår igennem på alle sider </a:t>
              </a:r>
            </a:p>
          </p:txBody>
        </p:sp>
        <p:grpSp>
          <p:nvGrpSpPr>
            <p:cNvPr id="22" name="Gruppe 21"/>
            <p:cNvGrpSpPr/>
            <p:nvPr userDrawn="1"/>
          </p:nvGrpSpPr>
          <p:grpSpPr>
            <a:xfrm>
              <a:off x="-2461135" y="5229519"/>
              <a:ext cx="2312988" cy="1653527"/>
              <a:chOff x="-2461135" y="5229519"/>
              <a:chExt cx="2312988" cy="1653527"/>
            </a:xfrm>
          </p:grpSpPr>
          <p:pic>
            <p:nvPicPr>
              <p:cNvPr id="23" name="Billede 22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2461135" y="5229519"/>
                <a:ext cx="2312988" cy="1653527"/>
              </a:xfrm>
              <a:prstGeom prst="rect">
                <a:avLst/>
              </a:prstGeom>
            </p:spPr>
          </p:pic>
          <p:sp>
            <p:nvSpPr>
              <p:cNvPr id="24" name="Rektangel 23"/>
              <p:cNvSpPr/>
              <p:nvPr userDrawn="1"/>
            </p:nvSpPr>
            <p:spPr>
              <a:xfrm>
                <a:off x="-2340768" y="6165304"/>
                <a:ext cx="1656184" cy="288032"/>
              </a:xfrm>
              <a:prstGeom prst="rect">
                <a:avLst/>
              </a:prstGeom>
              <a:no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GB" sz="1800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9121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Type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tekst 9">
            <a:extLst>
              <a:ext uri="{FF2B5EF4-FFF2-40B4-BE49-F238E27FC236}">
                <a16:creationId xmlns:a16="http://schemas.microsoft.com/office/drawing/2014/main" id="{95739CC6-0260-446D-8E46-620693A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656827" cy="271922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2411506"/>
            <a:ext cx="9614100" cy="600636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</p:spTree>
    <p:extLst>
      <p:ext uri="{BB962C8B-B14F-4D97-AF65-F5344CB8AC3E}">
        <p14:creationId xmlns:p14="http://schemas.microsoft.com/office/powerpoint/2010/main" val="27092322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687" y="1196755"/>
            <a:ext cx="10889267" cy="4886325"/>
          </a:xfrm>
        </p:spPr>
        <p:txBody>
          <a:bodyPr numCol="2" spcCol="18000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1"/>
            <a:ext cx="2844800" cy="365125"/>
          </a:xfrm>
          <a:prstGeom prst="rect">
            <a:avLst/>
          </a:prstGeom>
        </p:spPr>
        <p:txBody>
          <a:bodyPr/>
          <a:lstStyle/>
          <a:p>
            <a:fld id="{C9FA7539-029C-40EC-9D7D-A86862D1BB4A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2" name="Gruppe 11"/>
          <p:cNvGrpSpPr/>
          <p:nvPr userDrawn="1"/>
        </p:nvGrpSpPr>
        <p:grpSpPr>
          <a:xfrm>
            <a:off x="-2406369" y="1204883"/>
            <a:ext cx="2406370" cy="2221782"/>
            <a:chOff x="-2405743" y="1655465"/>
            <a:chExt cx="2405743" cy="2221782"/>
          </a:xfrm>
        </p:grpSpPr>
        <p:pic>
          <p:nvPicPr>
            <p:cNvPr id="13" name="Billede 12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293100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4" name="Pladsholder til indhold 2"/>
          <p:cNvSpPr>
            <a:spLocks noGrp="1"/>
          </p:cNvSpPr>
          <p:nvPr>
            <p:ph sz="quarter" idx="13"/>
          </p:nvPr>
        </p:nvSpPr>
        <p:spPr>
          <a:xfrm>
            <a:off x="651687" y="1196424"/>
            <a:ext cx="5347914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Pladsholder til indhold 3"/>
          <p:cNvSpPr>
            <a:spLocks noGrp="1"/>
          </p:cNvSpPr>
          <p:nvPr>
            <p:ph sz="quarter" idx="14"/>
          </p:nvPr>
        </p:nvSpPr>
        <p:spPr>
          <a:xfrm>
            <a:off x="6192011" y="1196424"/>
            <a:ext cx="5348944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1"/>
            <a:ext cx="2844800" cy="365125"/>
          </a:xfrm>
          <a:prstGeom prst="rect">
            <a:avLst/>
          </a:prstGeom>
        </p:spPr>
        <p:txBody>
          <a:bodyPr/>
          <a:lstStyle/>
          <a:p>
            <a:fld id="{F1248AE6-A870-4F52-A031-D2E23CAD9F1D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grpSp>
        <p:nvGrpSpPr>
          <p:cNvPr id="11" name="Gruppe 10"/>
          <p:cNvGrpSpPr/>
          <p:nvPr userDrawn="1"/>
        </p:nvGrpSpPr>
        <p:grpSpPr>
          <a:xfrm>
            <a:off x="-2406369" y="1204883"/>
            <a:ext cx="2406370" cy="2221782"/>
            <a:chOff x="-2405743" y="1655465"/>
            <a:chExt cx="2405743" cy="2221782"/>
          </a:xfrm>
        </p:grpSpPr>
        <p:pic>
          <p:nvPicPr>
            <p:cNvPr id="12" name="Billede 1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13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63039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2 pkt. grøn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baggr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9457" y="332656"/>
            <a:ext cx="10891498" cy="862732"/>
          </a:xfrm>
        </p:spPr>
        <p:txBody>
          <a:bodyPr/>
          <a:lstStyle>
            <a:lvl1pPr>
              <a:lnSpc>
                <a:spcPct val="88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49457" y="1628777"/>
            <a:ext cx="10891498" cy="3600425"/>
          </a:xfrm>
        </p:spPr>
        <p:txBody>
          <a:bodyPr/>
          <a:lstStyle>
            <a:lvl1pPr>
              <a:lnSpc>
                <a:spcPct val="88000"/>
              </a:lnSpc>
              <a:buFontTx/>
              <a:buNone/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4C7B0C0-09B7-4E2E-A5AD-F2CF0A9FFD31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3DE5C32-D24F-4B1C-8EA9-48D518B475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6923" y="6379012"/>
            <a:ext cx="226991" cy="201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564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1770" y="311972"/>
            <a:ext cx="6983048" cy="46800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0" y="1195390"/>
            <a:ext cx="6982713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8025313" y="0"/>
            <a:ext cx="4166686" cy="6858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212FE8A-6624-46B6-B9E2-035551E7BE9B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21" name="Gruppe 20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2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3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4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5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grpSp>
        <p:nvGrpSpPr>
          <p:cNvPr id="27" name="Gruppe 26"/>
          <p:cNvGrpSpPr/>
          <p:nvPr userDrawn="1"/>
        </p:nvGrpSpPr>
        <p:grpSpPr>
          <a:xfrm>
            <a:off x="-2406369" y="1204883"/>
            <a:ext cx="2406370" cy="2221782"/>
            <a:chOff x="-2405743" y="1655465"/>
            <a:chExt cx="2405743" cy="2221782"/>
          </a:xfrm>
        </p:grpSpPr>
        <p:pic>
          <p:nvPicPr>
            <p:cNvPr id="28" name="Billede 27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29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6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6476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1770" y="311972"/>
            <a:ext cx="5352598" cy="81277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0" y="1195390"/>
            <a:ext cx="5352261" cy="4886325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364124" y="0"/>
            <a:ext cx="582787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BF9CB11-815B-41DB-B4BC-90EB583AB51F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9" name="Gruppe 18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0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1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3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grpSp>
        <p:nvGrpSpPr>
          <p:cNvPr id="25" name="Gruppe 24"/>
          <p:cNvGrpSpPr/>
          <p:nvPr userDrawn="1"/>
        </p:nvGrpSpPr>
        <p:grpSpPr>
          <a:xfrm>
            <a:off x="-2406369" y="1204883"/>
            <a:ext cx="2406370" cy="2221782"/>
            <a:chOff x="-2405743" y="1655465"/>
            <a:chExt cx="2405743" cy="2221782"/>
          </a:xfrm>
        </p:grpSpPr>
        <p:pic>
          <p:nvPicPr>
            <p:cNvPr id="26" name="Billede 25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1060701" y="3676062"/>
              <a:ext cx="920576" cy="201185"/>
            </a:xfrm>
            <a:prstGeom prst="rect">
              <a:avLst/>
            </a:prstGeom>
          </p:spPr>
        </p:pic>
        <p:sp>
          <p:nvSpPr>
            <p:cNvPr id="27" name="Rectangle 5"/>
            <p:cNvSpPr/>
            <p:nvPr userDrawn="1"/>
          </p:nvSpPr>
          <p:spPr bwMode="auto">
            <a:xfrm>
              <a:off x="-2405743" y="1655465"/>
              <a:ext cx="2405743" cy="1938992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20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4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6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004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rvet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noFill/>
          <a:ln>
            <a:noFill/>
          </a:ln>
        </p:spPr>
        <p:txBody>
          <a:bodyPr tIns="144000"/>
          <a:lstStyle>
            <a:lvl1pPr algn="ctr">
              <a:defRPr sz="134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4055999" y="0"/>
            <a:ext cx="4080001" cy="6858000"/>
          </a:xfrm>
          <a:solidFill>
            <a:schemeClr val="accent1"/>
          </a:solidFill>
          <a:ln>
            <a:noFill/>
          </a:ln>
        </p:spPr>
        <p:txBody>
          <a:bodyPr tIns="144000"/>
          <a:lstStyle>
            <a:lvl1pPr algn="ctr">
              <a:defRPr sz="134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4" name="Pladsholder til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30005" y="0"/>
            <a:ext cx="4080001" cy="6858000"/>
          </a:xfrm>
          <a:solidFill>
            <a:schemeClr val="accent2"/>
          </a:solidFill>
          <a:ln>
            <a:noFill/>
          </a:ln>
        </p:spPr>
        <p:txBody>
          <a:bodyPr tIns="144000"/>
          <a:lstStyle>
            <a:lvl1pPr algn="ctr">
              <a:defRPr sz="134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6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2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7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055999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200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8" name="Pladsholder til tekst 6"/>
          <p:cNvSpPr>
            <a:spLocks noGrp="1"/>
          </p:cNvSpPr>
          <p:nvPr>
            <p:ph type="body" sz="quarter" idx="18"/>
          </p:nvPr>
        </p:nvSpPr>
        <p:spPr>
          <a:xfrm>
            <a:off x="8130005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2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3BE41E8-3046-426D-862A-2D982FB78896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B94044-16A8-41C9-A35E-F2CAB1B351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2145" y="0"/>
            <a:ext cx="1378027" cy="1033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0303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med bille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noFill/>
          <a:ln>
            <a:noFill/>
          </a:ln>
        </p:spPr>
        <p:txBody>
          <a:bodyPr tIns="144000"/>
          <a:lstStyle>
            <a:lvl1pPr algn="ctr">
              <a:defRPr sz="134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1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2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4056185" y="0"/>
            <a:ext cx="813581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BB8843E-5D89-4EDF-AB18-AE2E1B9F3D41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20" name="Gruppe 19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1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2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4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0516" y="0"/>
            <a:ext cx="1836399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500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med bille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-24250" y="0"/>
            <a:ext cx="4080001" cy="6858000"/>
          </a:xfrm>
          <a:solidFill>
            <a:schemeClr val="accent1"/>
          </a:solidFill>
          <a:ln>
            <a:noFill/>
          </a:ln>
        </p:spPr>
        <p:txBody>
          <a:bodyPr tIns="144000"/>
          <a:lstStyle>
            <a:lvl1pPr algn="ctr">
              <a:defRPr sz="134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/>
              <a:t>xx</a:t>
            </a:r>
          </a:p>
        </p:txBody>
      </p:sp>
      <p:sp>
        <p:nvSpPr>
          <p:cNvPr id="11" name="Pladsholder til tekst 4"/>
          <p:cNvSpPr>
            <a:spLocks noGrp="1"/>
          </p:cNvSpPr>
          <p:nvPr>
            <p:ph type="body" sz="quarter" idx="16"/>
          </p:nvPr>
        </p:nvSpPr>
        <p:spPr>
          <a:xfrm>
            <a:off x="-24250" y="2179638"/>
            <a:ext cx="4080001" cy="1897062"/>
          </a:xfrm>
        </p:spPr>
        <p:txBody>
          <a:bodyPr lIns="360000" rIns="360000"/>
          <a:lstStyle>
            <a:lvl1pPr>
              <a:lnSpc>
                <a:spcPct val="99000"/>
              </a:lnSpc>
              <a:defRPr sz="200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5"/>
                </a:solidFill>
              </a:defRPr>
            </a:lvl6pPr>
            <a:lvl7pPr>
              <a:defRPr>
                <a:solidFill>
                  <a:schemeClr val="accent5"/>
                </a:solidFill>
              </a:defRPr>
            </a:lvl7pPr>
            <a:lvl8pPr>
              <a:defRPr>
                <a:solidFill>
                  <a:schemeClr val="accent5"/>
                </a:solidFill>
              </a:defRPr>
            </a:lvl8pPr>
            <a:lvl9pPr>
              <a:defRPr>
                <a:solidFill>
                  <a:schemeClr val="accent5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4056185" y="0"/>
            <a:ext cx="8135816" cy="6858000"/>
          </a:xfrm>
        </p:spPr>
        <p:txBody>
          <a:bodyPr tIns="468000" anchor="ctr" anchorCtr="0"/>
          <a:lstStyle>
            <a:lvl1pPr marL="0" indent="0" algn="ctr">
              <a:buFontTx/>
              <a:buNone/>
              <a:defRPr sz="12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6EDFE6-9ACA-4FEC-A30B-2FAED3106C43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9" name="Gruppe 18"/>
          <p:cNvGrpSpPr/>
          <p:nvPr userDrawn="1"/>
        </p:nvGrpSpPr>
        <p:grpSpPr>
          <a:xfrm>
            <a:off x="12192000" y="1941319"/>
            <a:ext cx="2032529" cy="2054444"/>
            <a:chOff x="9150825" y="2171823"/>
            <a:chExt cx="2032000" cy="2054444"/>
          </a:xfrm>
        </p:grpSpPr>
        <p:sp>
          <p:nvSpPr>
            <p:cNvPr id="20" name="TextBox 12"/>
            <p:cNvSpPr txBox="1">
              <a:spLocks noChangeArrowheads="1"/>
            </p:cNvSpPr>
            <p:nvPr/>
          </p:nvSpPr>
          <p:spPr bwMode="auto">
            <a:xfrm>
              <a:off x="9150825" y="2171823"/>
              <a:ext cx="2032000" cy="1661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algn="l" defTabSz="914400" rtl="0" eaLnBrk="1" latinLnBrk="0" hangingPunct="1"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billed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1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på billederammen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2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 det ønskede billede via fanen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Indsæt, Billeder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3. 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lik </a:t>
              </a:r>
              <a:r>
                <a:rPr 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eskær</a:t>
              </a: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for at ændr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billedets fokus/størrelse</a:t>
              </a: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endParaRPr lang="da-DK" altLang="da-DK" sz="900" kern="12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marL="0"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4. 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Ønsker du at skalere billedet, så hold </a:t>
              </a:r>
              <a:r>
                <a:rPr lang="da-DK" altLang="da-DK" sz="900" b="1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SHIFT-</a:t>
              </a:r>
              <a:r>
                <a:rPr lang="da-DK" altLang="da-DK" sz="900" b="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knappen</a:t>
              </a:r>
              <a:r>
                <a:rPr lang="da-DK" altLang="da-DK" sz="900" kern="12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nede, mens der trækkes i billedets hjørner</a:t>
              </a:r>
            </a:p>
          </p:txBody>
        </p:sp>
        <p:pic>
          <p:nvPicPr>
            <p:cNvPr id="21" name="Billede 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9315" y="3028176"/>
              <a:ext cx="373507" cy="327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uppe 78"/>
            <p:cNvGrpSpPr>
              <a:grpSpLocks/>
            </p:cNvGrpSpPr>
            <p:nvPr/>
          </p:nvGrpSpPr>
          <p:grpSpPr bwMode="auto">
            <a:xfrm>
              <a:off x="9305577" y="3846855"/>
              <a:ext cx="330145" cy="379412"/>
              <a:chOff x="1018031" y="5509431"/>
              <a:chExt cx="373412" cy="429121"/>
            </a:xfrm>
          </p:grpSpPr>
          <p:pic>
            <p:nvPicPr>
              <p:cNvPr id="23" name="Billede 7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511796"/>
                <a:ext cx="373412" cy="42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5"/>
              <p:cNvSpPr/>
              <p:nvPr/>
            </p:nvSpPr>
            <p:spPr bwMode="auto">
              <a:xfrm>
                <a:off x="1023417" y="5509431"/>
                <a:ext cx="210080" cy="1723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</p:grpSp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3"/>
          <a:stretch/>
        </p:blipFill>
        <p:spPr>
          <a:xfrm>
            <a:off x="-1826943" y="0"/>
            <a:ext cx="1682825" cy="10334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A2D3FA-344F-4AB0-A06C-7B19E86FF2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826944" y="0"/>
            <a:ext cx="455875" cy="1033434"/>
          </a:xfrm>
          <a:prstGeom prst="rect">
            <a:avLst/>
          </a:prstGeom>
        </p:spPr>
      </p:pic>
      <p:sp>
        <p:nvSpPr>
          <p:cNvPr id="18" name="Pladsholder logo">
            <a:extLst>
              <a:ext uri="{FF2B5EF4-FFF2-40B4-BE49-F238E27FC236}">
                <a16:creationId xmlns:a16="http://schemas.microsoft.com/office/drawing/2014/main" id="{9DE59FF4-743D-4F47-8B8E-0880DAC8CB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5841" y="6378872"/>
            <a:ext cx="223258" cy="201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65040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4056001" y="0"/>
            <a:ext cx="813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651770" y="311151"/>
            <a:ext cx="3142286" cy="5770562"/>
          </a:xfrm>
        </p:spPr>
        <p:txBody>
          <a:bodyPr/>
          <a:lstStyle>
            <a:lvl1pPr>
              <a:lnSpc>
                <a:spcPct val="92000"/>
              </a:lnSpc>
              <a:defRPr sz="1800" baseline="0">
                <a:solidFill>
                  <a:schemeClr val="accent1"/>
                </a:solidFill>
              </a:defRPr>
            </a:lvl1pPr>
            <a:lvl2pPr marL="0" indent="0">
              <a:lnSpc>
                <a:spcPct val="92000"/>
              </a:lnSpc>
              <a:buFont typeface="Arial" panose="020B0604020202020204" pitchFamily="34" charset="0"/>
              <a:buChar char="​"/>
              <a:defRPr sz="1800">
                <a:solidFill>
                  <a:schemeClr val="accent2"/>
                </a:solidFill>
              </a:defRPr>
            </a:lvl2pPr>
            <a:lvl3pPr marL="216000" indent="-21600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432000">
              <a:defRPr>
                <a:solidFill>
                  <a:schemeClr val="accent1"/>
                </a:solidFill>
              </a:defRPr>
            </a:lvl4pPr>
            <a:lvl5pPr marL="648000">
              <a:defRPr>
                <a:solidFill>
                  <a:schemeClr val="accent1"/>
                </a:solidFill>
              </a:defRPr>
            </a:lvl5pPr>
            <a:lvl6pPr marL="648000">
              <a:defRPr>
                <a:solidFill>
                  <a:schemeClr val="accent1"/>
                </a:solidFill>
              </a:defRPr>
            </a:lvl6pPr>
            <a:lvl7pPr marL="648000">
              <a:defRPr>
                <a:solidFill>
                  <a:schemeClr val="accent1"/>
                </a:solidFill>
              </a:defRPr>
            </a:lvl7pPr>
            <a:lvl8pPr marL="648000">
              <a:defRPr>
                <a:solidFill>
                  <a:schemeClr val="accent1"/>
                </a:solidFill>
              </a:defRPr>
            </a:lvl8pPr>
            <a:lvl9pPr marL="648000"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a-DK" dirty="0"/>
              <a:t>Klik for at tilføje tekst - Gul tekst får du ved at bruge TAB-knapp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5455" y="1195390"/>
            <a:ext cx="683550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800"/>
            </a:lvl1pPr>
            <a:lvl2pPr>
              <a:lnSpc>
                <a:spcPct val="92000"/>
              </a:lnSpc>
              <a:defRPr sz="1800"/>
            </a:lvl2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7FBC4E-6646-42BB-AD68-04C8D8FA3561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2" name="Gruppe 11"/>
          <p:cNvGrpSpPr/>
          <p:nvPr userDrawn="1"/>
        </p:nvGrpSpPr>
        <p:grpSpPr>
          <a:xfrm>
            <a:off x="-2406369" y="311151"/>
            <a:ext cx="2406370" cy="2052668"/>
            <a:chOff x="-2405743" y="1655465"/>
            <a:chExt cx="2405743" cy="2052668"/>
          </a:xfrm>
        </p:grpSpPr>
        <p:pic>
          <p:nvPicPr>
            <p:cNvPr id="17" name="Billede 16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8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sort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Tekst grøn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6B8D433-56A8-49A9-8527-A24257F081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524330" y="5824566"/>
            <a:ext cx="1380212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433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651770" y="311151"/>
            <a:ext cx="3137235" cy="5770562"/>
          </a:xfrm>
        </p:spPr>
        <p:txBody>
          <a:bodyPr/>
          <a:lstStyle>
            <a:lvl1pPr>
              <a:lnSpc>
                <a:spcPct val="92000"/>
              </a:lnSpc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2000"/>
              </a:lnSpc>
              <a:buFont typeface="Arial" panose="020B0604020202020204" pitchFamily="34" charset="0"/>
              <a:buChar char="​"/>
              <a:defRPr sz="1800">
                <a:solidFill>
                  <a:schemeClr val="accent2"/>
                </a:solidFill>
              </a:defRPr>
            </a:lvl2pPr>
            <a:lvl3pPr marL="288000" indent="-21600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432000">
              <a:defRPr>
                <a:solidFill>
                  <a:schemeClr val="accent1"/>
                </a:solidFill>
              </a:defRPr>
            </a:lvl4pPr>
            <a:lvl5pPr marL="648000">
              <a:defRPr>
                <a:solidFill>
                  <a:schemeClr val="accent1"/>
                </a:solidFill>
              </a:defRPr>
            </a:lvl5pPr>
            <a:lvl6pPr marL="648000">
              <a:defRPr/>
            </a:lvl6pPr>
            <a:lvl7pPr marL="648000">
              <a:defRPr/>
            </a:lvl7pPr>
            <a:lvl8pPr marL="648000">
              <a:defRPr/>
            </a:lvl8pPr>
            <a:lvl9pPr marL="648000">
              <a:defRPr/>
            </a:lvl9pPr>
          </a:lstStyle>
          <a:p>
            <a:pPr lvl="0"/>
            <a:r>
              <a:rPr lang="da-DK" dirty="0"/>
              <a:t>Klik for at tilføje tekst - Gul tekst får du ved at bruge TAB-knapp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6426" y="1195390"/>
            <a:ext cx="683458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800"/>
            </a:lvl1pPr>
            <a:lvl2pPr>
              <a:lnSpc>
                <a:spcPct val="92000"/>
              </a:lnSpc>
              <a:defRPr sz="1800"/>
            </a:lvl2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1B4A44A-FF67-4EBA-AAF2-9FCB2AE5E66D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4" name="Gruppe 13"/>
          <p:cNvGrpSpPr/>
          <p:nvPr userDrawn="1"/>
        </p:nvGrpSpPr>
        <p:grpSpPr>
          <a:xfrm>
            <a:off x="-2406369" y="311151"/>
            <a:ext cx="2406370" cy="2052668"/>
            <a:chOff x="-2405743" y="1655465"/>
            <a:chExt cx="2405743" cy="2052668"/>
          </a:xfrm>
        </p:grpSpPr>
        <p:pic>
          <p:nvPicPr>
            <p:cNvPr id="15" name="Billede 14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6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sort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Tekst grøn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5CAF416C-E3FF-476D-B7B9-BEDE66E405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923" y="6379012"/>
            <a:ext cx="226991" cy="2014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55A2EA-4672-426D-B407-F84D361F392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20453" y="5824565"/>
            <a:ext cx="1376335" cy="10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12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lide_Type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tekst 9">
            <a:extLst>
              <a:ext uri="{FF2B5EF4-FFF2-40B4-BE49-F238E27FC236}">
                <a16:creationId xmlns:a16="http://schemas.microsoft.com/office/drawing/2014/main" id="{95739CC6-0260-446D-8E46-620693A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674583" cy="387332"/>
          </a:xfrm>
        </p:spPr>
        <p:txBody>
          <a:bodyPr bIns="36000">
            <a:noAutofit/>
          </a:bodyPr>
          <a:lstStyle>
            <a:lvl1pPr marL="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1pPr>
            <a:lvl2pPr marL="22634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2pPr>
            <a:lvl3pPr marL="45269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3pPr>
            <a:lvl4pPr marL="679035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4pPr>
            <a:lvl5pPr marL="905380" indent="0">
              <a:buNone/>
              <a:defRPr sz="1000" kern="0" spc="160" baseline="0">
                <a:latin typeface="K2D Light" panose="00000400000000000000" pitchFamily="2" charset="-34"/>
                <a:cs typeface="K2D Light" panose="00000400000000000000" pitchFamily="2" charset="-34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5434DEA-6EC2-4011-9085-652D301050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2000" y="546847"/>
            <a:ext cx="9614100" cy="618565"/>
          </a:xfrm>
        </p:spPr>
        <p:txBody>
          <a:bodyPr tIns="36000" anchor="t"/>
          <a:lstStyle>
            <a:lvl1pPr algn="l">
              <a:defRPr sz="4000" b="1">
                <a:latin typeface="K2D" panose="00000500000000000000" pitchFamily="2" charset="-34"/>
                <a:cs typeface="K2D" panose="00000500000000000000" pitchFamily="2" charset="-34"/>
              </a:defRPr>
            </a:lvl1pPr>
          </a:lstStyle>
          <a:p>
            <a:r>
              <a:rPr lang="da-DK" dirty="0"/>
              <a:t>Skriv titel</a:t>
            </a:r>
          </a:p>
        </p:txBody>
      </p:sp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54B0934C-AF75-4B4E-933E-976996E4E7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0" y="1264023"/>
            <a:ext cx="9614100" cy="3065929"/>
          </a:xfrm>
        </p:spPr>
        <p:txBody>
          <a:bodyPr tIns="46800">
            <a:normAutofit/>
          </a:bodyPr>
          <a:lstStyle>
            <a:lvl1pPr marL="0" indent="0">
              <a:buFontTx/>
              <a:buNone/>
              <a:defRPr sz="2400"/>
            </a:lvl1pPr>
            <a:lvl2pPr marL="226345" indent="0">
              <a:buFontTx/>
              <a:buNone/>
              <a:defRPr sz="2400"/>
            </a:lvl2pPr>
            <a:lvl3pPr marL="452690" indent="0">
              <a:buFontTx/>
              <a:buNone/>
              <a:defRPr sz="2400"/>
            </a:lvl3pPr>
            <a:lvl4pPr marL="679035" indent="0">
              <a:buFontTx/>
              <a:buNone/>
              <a:defRPr sz="2400"/>
            </a:lvl4pPr>
            <a:lvl5pPr marL="905380" indent="0"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25234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baggr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7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51770" y="311151"/>
            <a:ext cx="3142286" cy="5770562"/>
          </a:xfrm>
        </p:spPr>
        <p:txBody>
          <a:bodyPr/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  <a:lvl2pPr marL="216000" indent="-216000">
              <a:lnSpc>
                <a:spcPct val="92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216000" indent="-216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432000">
              <a:defRPr>
                <a:solidFill>
                  <a:schemeClr val="bg1"/>
                </a:solidFill>
              </a:defRPr>
            </a:lvl4pPr>
            <a:lvl5pPr marL="648000">
              <a:defRPr>
                <a:solidFill>
                  <a:schemeClr val="bg1"/>
                </a:solidFill>
              </a:defRPr>
            </a:lvl5pPr>
            <a:lvl6pPr marL="648000">
              <a:defRPr>
                <a:solidFill>
                  <a:schemeClr val="bg1"/>
                </a:solidFill>
              </a:defRPr>
            </a:lvl6pPr>
            <a:lvl7pPr marL="648000">
              <a:defRPr>
                <a:solidFill>
                  <a:schemeClr val="bg1"/>
                </a:solidFill>
              </a:defRPr>
            </a:lvl7pPr>
            <a:lvl8pPr marL="648000">
              <a:defRPr>
                <a:solidFill>
                  <a:schemeClr val="bg1"/>
                </a:solidFill>
              </a:defRPr>
            </a:lvl8pPr>
            <a:lvl9pPr marL="648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706426" y="1195390"/>
            <a:ext cx="6834580" cy="4886325"/>
          </a:xfrm>
          <a:noFill/>
        </p:spPr>
        <p:txBody>
          <a:bodyPr lIns="0" tIns="0"/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0368133-AEFF-4892-9CD3-6A07CD68BD90}" type="datetime2">
              <a:rPr lang="da-DK" smtClean="0"/>
              <a:t>5. november 2025</a:t>
            </a:fld>
            <a:endParaRPr lang="da-DK" dirty="0"/>
          </a:p>
        </p:txBody>
      </p:sp>
      <p:grpSp>
        <p:nvGrpSpPr>
          <p:cNvPr id="13" name="Gruppe 12"/>
          <p:cNvGrpSpPr/>
          <p:nvPr userDrawn="1"/>
        </p:nvGrpSpPr>
        <p:grpSpPr>
          <a:xfrm>
            <a:off x="-2406369" y="311151"/>
            <a:ext cx="2406370" cy="2052668"/>
            <a:chOff x="-2405743" y="1655465"/>
            <a:chExt cx="2405743" cy="2052668"/>
          </a:xfrm>
        </p:grpSpPr>
        <p:pic>
          <p:nvPicPr>
            <p:cNvPr id="14" name="Billede 13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060701" y="3506948"/>
              <a:ext cx="920576" cy="201185"/>
            </a:xfrm>
            <a:prstGeom prst="rect">
              <a:avLst/>
            </a:prstGeom>
          </p:spPr>
        </p:pic>
        <p:sp>
          <p:nvSpPr>
            <p:cNvPr id="19" name="Rectangle 5"/>
            <p:cNvSpPr/>
            <p:nvPr userDrawn="1"/>
          </p:nvSpPr>
          <p:spPr bwMode="auto">
            <a:xfrm>
              <a:off x="-2405743" y="1655465"/>
              <a:ext cx="2405743" cy="1800493"/>
            </a:xfrm>
            <a:prstGeom prst="rect">
              <a:avLst/>
            </a:prstGeom>
          </p:spPr>
          <p:txBody>
            <a:bodyPr wrap="square" lIns="0" tIns="0" rIns="144000" bIns="0">
              <a:spAutoFit/>
            </a:bodyPr>
            <a:lstStyle/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Tekst-typografier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TAB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for at gå frem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i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Calibri" panose="020F0502020204030204" pitchFamily="34" charset="0"/>
                  <a:cs typeface="Arial" panose="020B0604020202020204" pitchFamily="34" charset="0"/>
                </a:rPr>
                <a:t> tekst-niveauer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1 = Tekst hvid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2 = Punkt-liste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Niveau 3-9 = Punkt-liste indryk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18 pkt.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 at gå tilbage i tekst-niveauer,</a:t>
              </a:r>
              <a:r>
                <a:rPr lang="da-DK" sz="900" baseline="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bru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SHIFT + TAB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endParaRPr lang="da-DK" sz="900" b="1" noProof="1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Alternativt kan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øg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og </a:t>
              </a:r>
              <a:r>
                <a:rPr lang="da-DK" sz="900" b="1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Formindsk</a:t>
              </a: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da-DK" sz="900" noProof="1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listeniveau bruges</a:t>
              </a:r>
              <a:endPara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2B4A2A7-E0DF-43AF-9884-B5E675E8DA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923" y="6379012"/>
            <a:ext cx="226991" cy="2014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416D25-19C0-4700-976D-ECA48816B3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8522" y="5824567"/>
            <a:ext cx="1374404" cy="1033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5768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dhold I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49458" y="311151"/>
            <a:ext cx="4294414" cy="5770562"/>
          </a:xfrm>
        </p:spPr>
        <p:txBody>
          <a:bodyPr/>
          <a:lstStyle>
            <a:lvl1pPr>
              <a:lnSpc>
                <a:spcPct val="88000"/>
              </a:lnSpc>
              <a:defRPr sz="3200">
                <a:solidFill>
                  <a:schemeClr val="accent2"/>
                </a:solidFill>
              </a:defRPr>
            </a:lvl1pPr>
            <a:lvl2pPr marL="0" indent="0">
              <a:lnSpc>
                <a:spcPct val="94000"/>
              </a:lnSpc>
              <a:buFont typeface="Arial" panose="020B0604020202020204" pitchFamily="34" charset="0"/>
              <a:buChar char="​"/>
              <a:defRPr sz="1500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5808191" y="311152"/>
            <a:ext cx="5732764" cy="5770563"/>
          </a:xfrm>
          <a:noFill/>
        </p:spPr>
        <p:txBody>
          <a:bodyPr lIns="0" t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dirty="0"/>
              <a:t>Klik og indsæt diagram eller tabel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  <a:p>
            <a:pPr lvl="4"/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1C5CA69-3483-4F6A-AA28-06E715AF2B38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6372F5-6CEF-440F-9F33-E912B7635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2145" y="1"/>
            <a:ext cx="1378027" cy="103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7956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13326565" y="6398801"/>
            <a:ext cx="2844800" cy="365125"/>
          </a:xfrm>
          <a:prstGeom prst="rect">
            <a:avLst/>
          </a:prstGeom>
        </p:spPr>
        <p:txBody>
          <a:bodyPr/>
          <a:lstStyle/>
          <a:p>
            <a:fld id="{D4110EE6-8FAD-4CDD-B783-BA8D9D41E391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99373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13326565" y="6398801"/>
            <a:ext cx="2844800" cy="365125"/>
          </a:xfrm>
          <a:prstGeom prst="rect">
            <a:avLst/>
          </a:prstGeom>
        </p:spPr>
        <p:txBody>
          <a:bodyPr/>
          <a:lstStyle/>
          <a:p>
            <a:fld id="{079F2E06-50BC-47A3-B58C-7301A66D6437}" type="datetime2">
              <a:rPr lang="da-DK" smtClean="0"/>
              <a:t>5. november 2025</a:t>
            </a:fld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95886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B1ACC8-74B2-4946-8A47-BAA4E5E495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EF45010-DAF1-438C-9AA1-8E8919183A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4EB6BE3-9957-4AA7-B133-338E0CE2B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CDCFE6E-31A4-4284-864C-D28C0F1F7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132FFA2-DEBC-4AF8-B9DC-84F9EAA08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48022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C8D68C-CD5F-49F4-BE13-6EE7659F2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49B2695-A1AA-45A8-B58A-81ED433D82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BE7DD0F-B416-443C-BE63-5C97EAB3A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314A998-9611-4FA1-B2C0-BC2856791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C544B7-1400-422D-99E4-180ED9F28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71139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5443F0-2F38-46E4-A4D5-6A80051CA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87FEE36-7D48-4604-9BD0-65DB202F5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6ADA1C0-710C-4B8E-B3CE-B2733D58E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C003B08-C88B-4353-ACF2-01B9D251A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9FF933E-9B0A-4504-80CA-F239B1EC4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93554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912B7A-AA34-4307-8858-3EE4B74FD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8C2FBE2-4EF2-4DD2-BE91-97304BF975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53FED89-A007-4F73-98E6-031910D999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6EEA9CE-9552-4CB5-A64C-BA2D0FCE9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8E720FB-02DF-4A95-9A2F-79D0BA769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22C0273-8536-44E3-A874-35501DF89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60463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A48850-7990-4BCB-9EDB-A489720B7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8DB4B17-C7AF-44CD-B958-C609B1D8B8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F75FEBE-6377-4B5C-9334-08E584EF71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FA20022-AAA8-4159-84F9-E1E1A0FC2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2510B823-6C5F-4D09-8DE0-32E1387C93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50C26F4-B403-41FB-B5C0-1687A84D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D70B9FA-14EE-438C-953A-2BA594374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0E5AEE07-8693-45F4-AD66-2C8002723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57821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31FF86-C992-452B-9560-319A560E7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9836323-B2D8-4072-A731-2953C7DAC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EE11236-C998-4013-8D44-D93504550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3F9BF9C7-EF67-453A-98E6-350B1BD18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51183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3.xml"/><Relationship Id="rId27" Type="http://schemas.openxmlformats.org/officeDocument/2006/relationships/image" Target="../media/image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heme" Target="../theme/theme4.xml"/><Relationship Id="rId27" Type="http://schemas.openxmlformats.org/officeDocument/2006/relationships/image" Target="../media/image6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10" Type="http://schemas.openxmlformats.org/officeDocument/2006/relationships/image" Target="../media/image35.jpeg"/><Relationship Id="rId4" Type="http://schemas.openxmlformats.org/officeDocument/2006/relationships/slideLayout" Target="../slideLayouts/slideLayout109.xml"/><Relationship Id="rId9" Type="http://schemas.openxmlformats.org/officeDocument/2006/relationships/image" Target="../media/image3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D9A68C24-05B8-4F61-B52E-400785F9F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333079"/>
            <a:ext cx="10515600" cy="1073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4134223-50C0-4BF1-AF33-00C04232E9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2490537"/>
            <a:ext cx="10515600" cy="33708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Klik for at redigere teksttypografierne i masteren</a:t>
            </a:r>
          </a:p>
          <a:p>
            <a:pPr lvl="1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Andet niveau</a:t>
            </a:r>
          </a:p>
          <a:p>
            <a:pPr lvl="2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Tredje niveau</a:t>
            </a:r>
          </a:p>
          <a:p>
            <a:pPr lvl="3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Fjerde niveau</a:t>
            </a:r>
          </a:p>
          <a:p>
            <a:pPr lvl="4">
              <a:buSzPct val="100000"/>
              <a:buFont typeface="K2D Medium" panose="00000600000000000000" pitchFamily="2" charset="-34"/>
              <a:buChar char="·"/>
            </a:pPr>
            <a:r>
              <a:rPr lang="da-DK" dirty="0"/>
              <a:t> Femte niveau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EE80AD9-1793-4415-99EB-CCDB8E907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1200" y="6093415"/>
            <a:ext cx="4727140" cy="252000"/>
          </a:xfrm>
          <a:prstGeom prst="rect">
            <a:avLst/>
          </a:prstGeom>
        </p:spPr>
        <p:txBody>
          <a:bodyPr vert="horz" lIns="91440" tIns="45720" rIns="91440" bIns="0" rtlCol="0">
            <a:noAutofit/>
          </a:bodyPr>
          <a:lstStyle>
            <a:lvl1pPr>
              <a:defRPr lang="da-DK" sz="1000" kern="0" spc="160" baseline="0" dirty="0">
                <a:solidFill>
                  <a:schemeClr val="tx2"/>
                </a:solidFill>
                <a:latin typeface="K2D Light" panose="00000400000000000000" pitchFamily="2" charset="-34"/>
                <a:cs typeface="K2D Light" panose="00000400000000000000" pitchFamily="2" charset="-34"/>
              </a:defRPr>
            </a:lvl1pPr>
          </a:lstStyle>
          <a:p>
            <a:pPr defTabSz="452691">
              <a:lnSpc>
                <a:spcPct val="90000"/>
              </a:lnSpc>
              <a:spcBef>
                <a:spcPts val="496"/>
              </a:spcBef>
              <a:buFont typeface="Arial" panose="020B0604020202020204" pitchFamily="34" charset="0"/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50895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898" r:id="rId28"/>
    <p:sldLayoutId id="2147483899" r:id="rId29"/>
  </p:sldLayoutIdLst>
  <p:txStyles>
    <p:titleStyle>
      <a:lvl1pPr algn="l" defTabSz="452691" rtl="0" eaLnBrk="1" latinLnBrk="0" hangingPunct="1">
        <a:lnSpc>
          <a:spcPct val="90000"/>
        </a:lnSpc>
        <a:spcBef>
          <a:spcPct val="0"/>
        </a:spcBef>
        <a:buNone/>
        <a:defRPr lang="da-DK" sz="4000" b="1" kern="1200" dirty="0">
          <a:solidFill>
            <a:schemeClr val="tx2"/>
          </a:solidFill>
          <a:latin typeface="K2D" panose="00000500000000000000" pitchFamily="2" charset="-34"/>
          <a:ea typeface="+mj-ea"/>
          <a:cs typeface="K2D" panose="00000500000000000000" pitchFamily="2" charset="-34"/>
        </a:defRPr>
      </a:lvl1pPr>
    </p:titleStyle>
    <p:bodyStyle>
      <a:lvl1pPr marL="0" indent="0" algn="l" defTabSz="452691" rtl="0" eaLnBrk="1" latinLnBrk="0" hangingPunct="1">
        <a:lnSpc>
          <a:spcPct val="100000"/>
        </a:lnSpc>
        <a:spcBef>
          <a:spcPts val="496"/>
        </a:spcBef>
        <a:buFontTx/>
        <a:buNone/>
        <a:defRPr lang="da-DK" sz="2000" kern="1200" dirty="0">
          <a:solidFill>
            <a:schemeClr val="tx2"/>
          </a:solidFill>
          <a:latin typeface="K2D Medium" panose="00000600000000000000" pitchFamily="2" charset="-34"/>
          <a:ea typeface="+mn-ea"/>
          <a:cs typeface="K2D Medium" panose="00000600000000000000" pitchFamily="2" charset="-34"/>
        </a:defRPr>
      </a:lvl1pPr>
      <a:lvl2pPr marL="226345" indent="0" algn="l" defTabSz="452691" rtl="0" eaLnBrk="1" latinLnBrk="0" hangingPunct="1">
        <a:lnSpc>
          <a:spcPct val="100000"/>
        </a:lnSpc>
        <a:spcBef>
          <a:spcPts val="248"/>
        </a:spcBef>
        <a:buFontTx/>
        <a:buNone/>
        <a:defRPr lang="da-DK" sz="2000" kern="1200" dirty="0">
          <a:solidFill>
            <a:schemeClr val="tx2"/>
          </a:solidFill>
          <a:latin typeface="K2D Medium" panose="00000600000000000000" pitchFamily="2" charset="-34"/>
          <a:ea typeface="+mn-ea"/>
          <a:cs typeface="K2D Medium" panose="00000600000000000000" pitchFamily="2" charset="-34"/>
        </a:defRPr>
      </a:lvl2pPr>
      <a:lvl3pPr marL="452690" indent="0" algn="l" defTabSz="452691" rtl="0" eaLnBrk="1" latinLnBrk="0" hangingPunct="1">
        <a:lnSpc>
          <a:spcPct val="100000"/>
        </a:lnSpc>
        <a:spcBef>
          <a:spcPts val="248"/>
        </a:spcBef>
        <a:buFontTx/>
        <a:buNone/>
        <a:defRPr lang="da-DK" sz="2000" kern="1200" dirty="0">
          <a:solidFill>
            <a:schemeClr val="tx2"/>
          </a:solidFill>
          <a:latin typeface="K2D Medium" panose="00000600000000000000" pitchFamily="2" charset="-34"/>
          <a:ea typeface="+mn-ea"/>
          <a:cs typeface="K2D Medium" panose="00000600000000000000" pitchFamily="2" charset="-34"/>
        </a:defRPr>
      </a:lvl3pPr>
      <a:lvl4pPr marL="679035" indent="0" algn="l" defTabSz="452691" rtl="0" eaLnBrk="1" latinLnBrk="0" hangingPunct="1">
        <a:lnSpc>
          <a:spcPct val="100000"/>
        </a:lnSpc>
        <a:spcBef>
          <a:spcPts val="248"/>
        </a:spcBef>
        <a:buFontTx/>
        <a:buNone/>
        <a:defRPr lang="da-DK" sz="2000" kern="1200" dirty="0">
          <a:solidFill>
            <a:schemeClr val="tx2"/>
          </a:solidFill>
          <a:latin typeface="K2D Medium" panose="00000600000000000000" pitchFamily="2" charset="-34"/>
          <a:ea typeface="+mn-ea"/>
          <a:cs typeface="K2D Medium" panose="00000600000000000000" pitchFamily="2" charset="-34"/>
        </a:defRPr>
      </a:lvl4pPr>
      <a:lvl5pPr marL="905380" indent="0" algn="l" defTabSz="452691" rtl="0" eaLnBrk="1" latinLnBrk="0" hangingPunct="1">
        <a:lnSpc>
          <a:spcPct val="100000"/>
        </a:lnSpc>
        <a:spcBef>
          <a:spcPts val="248"/>
        </a:spcBef>
        <a:buFontTx/>
        <a:buNone/>
        <a:defRPr lang="da-DK" sz="2000" kern="1200" dirty="0">
          <a:solidFill>
            <a:schemeClr val="tx2"/>
          </a:solidFill>
          <a:latin typeface="K2D Medium" panose="00000600000000000000" pitchFamily="2" charset="-34"/>
          <a:ea typeface="+mn-ea"/>
          <a:cs typeface="K2D Medium" panose="00000600000000000000" pitchFamily="2" charset="-34"/>
        </a:defRPr>
      </a:lvl5pPr>
      <a:lvl6pPr marL="1244898" indent="-113173" algn="l" defTabSz="452691" rtl="0" eaLnBrk="1" latinLnBrk="0" hangingPunct="1">
        <a:lnSpc>
          <a:spcPct val="90000"/>
        </a:lnSpc>
        <a:spcBef>
          <a:spcPts val="248"/>
        </a:spcBef>
        <a:buFont typeface="Arial" panose="020B0604020202020204" pitchFamily="34" charset="0"/>
        <a:buChar char="•"/>
        <a:defRPr sz="892" kern="1200">
          <a:solidFill>
            <a:schemeClr val="tx1"/>
          </a:solidFill>
          <a:latin typeface="+mn-lt"/>
          <a:ea typeface="+mn-ea"/>
          <a:cs typeface="+mn-cs"/>
        </a:defRPr>
      </a:lvl6pPr>
      <a:lvl7pPr marL="1471242" indent="-113173" algn="l" defTabSz="452691" rtl="0" eaLnBrk="1" latinLnBrk="0" hangingPunct="1">
        <a:lnSpc>
          <a:spcPct val="90000"/>
        </a:lnSpc>
        <a:spcBef>
          <a:spcPts val="248"/>
        </a:spcBef>
        <a:buFont typeface="Arial" panose="020B0604020202020204" pitchFamily="34" charset="0"/>
        <a:buChar char="•"/>
        <a:defRPr sz="892" kern="1200">
          <a:solidFill>
            <a:schemeClr val="tx1"/>
          </a:solidFill>
          <a:latin typeface="+mn-lt"/>
          <a:ea typeface="+mn-ea"/>
          <a:cs typeface="+mn-cs"/>
        </a:defRPr>
      </a:lvl7pPr>
      <a:lvl8pPr marL="1697588" indent="-113173" algn="l" defTabSz="452691" rtl="0" eaLnBrk="1" latinLnBrk="0" hangingPunct="1">
        <a:lnSpc>
          <a:spcPct val="90000"/>
        </a:lnSpc>
        <a:spcBef>
          <a:spcPts val="248"/>
        </a:spcBef>
        <a:buFont typeface="Arial" panose="020B0604020202020204" pitchFamily="34" charset="0"/>
        <a:buChar char="•"/>
        <a:defRPr sz="892" kern="1200">
          <a:solidFill>
            <a:schemeClr val="tx1"/>
          </a:solidFill>
          <a:latin typeface="+mn-lt"/>
          <a:ea typeface="+mn-ea"/>
          <a:cs typeface="+mn-cs"/>
        </a:defRPr>
      </a:lvl8pPr>
      <a:lvl9pPr marL="1923932" indent="-113173" algn="l" defTabSz="452691" rtl="0" eaLnBrk="1" latinLnBrk="0" hangingPunct="1">
        <a:lnSpc>
          <a:spcPct val="90000"/>
        </a:lnSpc>
        <a:spcBef>
          <a:spcPts val="248"/>
        </a:spcBef>
        <a:buFont typeface="Arial" panose="020B0604020202020204" pitchFamily="34" charset="0"/>
        <a:buChar char="•"/>
        <a:defRPr sz="8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1pPr>
      <a:lvl2pPr marL="226346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2pPr>
      <a:lvl3pPr marL="452691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3pPr>
      <a:lvl4pPr marL="679038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4pPr>
      <a:lvl5pPr marL="905381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5pPr>
      <a:lvl6pPr marL="1131726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6pPr>
      <a:lvl7pPr marL="1358071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7pPr>
      <a:lvl8pPr marL="1584415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8pPr>
      <a:lvl9pPr marL="1810760" algn="l" defTabSz="452691" rtl="0" eaLnBrk="1" latinLnBrk="0" hangingPunct="1">
        <a:defRPr sz="8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B9B2122B-666D-6B17-34CE-708FB09AA7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16CA4D-80BD-2569-45D9-AEEB6CAFE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4034A26-4BDA-0CAD-A8B7-1EF11649DB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F4A7F63-60BC-4526-98DC-C1649D91D5E3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A7E5F4F-15E8-F83A-86F6-F8E61F2CF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EAF313A-04E1-D643-3D0C-409FDC841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ACD1CB1-55F1-4C68-AB43-FC87285F78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5022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8" y="311972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7" y="1196753"/>
            <a:ext cx="10889269" cy="48859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8698" y="6398803"/>
            <a:ext cx="5653472" cy="20146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a-DK"/>
              <a:t>/ Ministeriet for Fødevarer, Landbrug og Fiskeri - Departementet / Titel på præsentation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17413" y="6398803"/>
            <a:ext cx="298878" cy="20146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4F558AD-940F-4347-A8C5-7C6590F9DE5B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5E4B6A9-9596-43FC-87A4-78BEC306F03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46924" y="6379014"/>
            <a:ext cx="226991" cy="201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1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</p:sldLayoutIdLs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2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1999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35" indent="-215935" algn="l" defTabSz="91412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1999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431870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647806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863741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863741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863741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863741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799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863741" indent="-215935" algn="l" defTabSz="91412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799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53">
          <p15:clr>
            <a:srgbClr val="F26B43"/>
          </p15:clr>
        </p15:guide>
        <p15:guide id="4" orient="horz" pos="3831">
          <p15:clr>
            <a:srgbClr val="F26B43"/>
          </p15:clr>
        </p15:guide>
        <p15:guide id="5" orient="horz" pos="195">
          <p15:clr>
            <a:srgbClr val="F26B43"/>
          </p15:clr>
        </p15:guide>
        <p15:guide id="6" orient="horz" pos="491">
          <p15:clr>
            <a:srgbClr val="F26B43"/>
          </p15:clr>
        </p15:guide>
        <p15:guide id="7" pos="409">
          <p15:clr>
            <a:srgbClr val="F26B43"/>
          </p15:clr>
        </p15:guide>
        <p15:guide id="8" pos="726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311972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196753"/>
            <a:ext cx="10889269" cy="48859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8698" y="6398801"/>
            <a:ext cx="5653472" cy="20146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a-DK"/>
              <a:t>/ Ministeriet for Grøn Trepart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17413" y="6398801"/>
            <a:ext cx="298878" cy="20146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94D0367C-421E-405E-9AD1-638AC50DEBD9}" type="datetime2">
              <a:rPr lang="da-DK" smtClean="0"/>
              <a:t>5. november 2025</a:t>
            </a:fld>
            <a:endParaRPr lang="da-DK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5E4B6A9-9596-43FC-87A4-78BEC306F03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46923" y="6379012"/>
            <a:ext cx="226991" cy="201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18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00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53">
          <p15:clr>
            <a:srgbClr val="F26B43"/>
          </p15:clr>
        </p15:guide>
        <p15:guide id="4" orient="horz" pos="3831">
          <p15:clr>
            <a:srgbClr val="F26B43"/>
          </p15:clr>
        </p15:guide>
        <p15:guide id="5" orient="horz" pos="195">
          <p15:clr>
            <a:srgbClr val="F26B43"/>
          </p15:clr>
        </p15:guide>
        <p15:guide id="6" orient="horz" pos="491">
          <p15:clr>
            <a:srgbClr val="F26B43"/>
          </p15:clr>
        </p15:guide>
        <p15:guide id="7" pos="409">
          <p15:clr>
            <a:srgbClr val="F26B43"/>
          </p15:clr>
        </p15:guide>
        <p15:guide id="8" pos="72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ADE675FE-82B3-40DC-B304-0E54EA5C1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FCF454C-1D38-46D0-B419-C3589B2FDB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442E8E2-D6A1-455E-AA78-B1B3C675A7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C0EBBF-23C2-4B2B-B282-0B1FE5C7E970}" type="datetimeFigureOut">
              <a:rPr lang="da-DK" smtClean="0"/>
              <a:t>05-11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A6F417B-1FAD-4BB5-808B-FEB1E7A34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FD3DC4A-E3A6-4AAC-BC49-3FADA3F832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33D80B-4009-4A70-9D5B-A1C21EE75F1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0059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0864" y="1268760"/>
            <a:ext cx="1116176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863" y="1862406"/>
            <a:ext cx="11161761" cy="4230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endParaRPr lang="da-DK" dirty="0"/>
          </a:p>
        </p:txBody>
      </p:sp>
      <p:pic>
        <p:nvPicPr>
          <p:cNvPr id="20" name="Billede 1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4317" y="249446"/>
            <a:ext cx="1636337" cy="723193"/>
          </a:xfrm>
          <a:prstGeom prst="rect">
            <a:avLst/>
          </a:prstGeom>
        </p:spPr>
      </p:pic>
      <p:sp>
        <p:nvSpPr>
          <p:cNvPr id="22" name="Rektangel 21"/>
          <p:cNvSpPr/>
          <p:nvPr userDrawn="1"/>
        </p:nvSpPr>
        <p:spPr bwMode="auto">
          <a:xfrm>
            <a:off x="191344" y="6300000"/>
            <a:ext cx="11809312" cy="288000"/>
          </a:xfrm>
          <a:prstGeom prst="rect">
            <a:avLst/>
          </a:prstGeom>
          <a:solidFill>
            <a:srgbClr val="6B6C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801688" marR="0" indent="-8016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kstfelt 24"/>
          <p:cNvSpPr txBox="1"/>
          <p:nvPr userDrawn="1"/>
        </p:nvSpPr>
        <p:spPr>
          <a:xfrm>
            <a:off x="6600056" y="6292800"/>
            <a:ext cx="2390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200" b="1" dirty="0">
                <a:solidFill>
                  <a:schemeClr val="bg1"/>
                </a:solidFill>
                <a:latin typeface="+mj-lt"/>
              </a:rPr>
              <a:t>Handlekraft: </a:t>
            </a:r>
            <a:r>
              <a:rPr lang="da-DK" sz="1200" dirty="0">
                <a:solidFill>
                  <a:schemeClr val="bg1"/>
                </a:solidFill>
                <a:latin typeface="+mn-lt"/>
              </a:rPr>
              <a:t>Vi får det til at ske</a:t>
            </a:r>
          </a:p>
        </p:txBody>
      </p:sp>
      <p:sp>
        <p:nvSpPr>
          <p:cNvPr id="26" name="Tekstfelt 25"/>
          <p:cNvSpPr txBox="1"/>
          <p:nvPr userDrawn="1"/>
        </p:nvSpPr>
        <p:spPr>
          <a:xfrm>
            <a:off x="479376" y="6292800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200" b="1" dirty="0" err="1">
                <a:solidFill>
                  <a:schemeClr val="bg1"/>
                </a:solidFill>
                <a:latin typeface="+mj-lt"/>
              </a:rPr>
              <a:t>Glokal</a:t>
            </a:r>
            <a:r>
              <a:rPr lang="da-DK" sz="1200" b="1" dirty="0">
                <a:solidFill>
                  <a:schemeClr val="bg1"/>
                </a:solidFill>
                <a:latin typeface="+mj-lt"/>
              </a:rPr>
              <a:t>:</a:t>
            </a:r>
            <a:r>
              <a:rPr lang="da-DK" sz="1200" b="1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a-DK" sz="1200" dirty="0">
                <a:solidFill>
                  <a:schemeClr val="bg1"/>
                </a:solidFill>
                <a:latin typeface="+mn-lt"/>
              </a:rPr>
              <a:t>Storbyen</a:t>
            </a:r>
            <a:r>
              <a:rPr lang="da-DK" sz="1200" baseline="0" dirty="0">
                <a:solidFill>
                  <a:schemeClr val="bg1"/>
                </a:solidFill>
                <a:latin typeface="+mn-lt"/>
              </a:rPr>
              <a:t> i naturen</a:t>
            </a:r>
            <a:endParaRPr lang="da-DK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Tekstfelt 26"/>
          <p:cNvSpPr txBox="1"/>
          <p:nvPr userDrawn="1"/>
        </p:nvSpPr>
        <p:spPr>
          <a:xfrm>
            <a:off x="3071664" y="629280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200" b="1" dirty="0">
                <a:solidFill>
                  <a:schemeClr val="bg1"/>
                </a:solidFill>
                <a:latin typeface="+mj-lt"/>
              </a:rPr>
              <a:t>Grænseland</a:t>
            </a:r>
            <a:r>
              <a:rPr lang="da-DK" sz="1200" b="1" baseline="0" dirty="0">
                <a:solidFill>
                  <a:schemeClr val="bg1"/>
                </a:solidFill>
                <a:latin typeface="+mj-lt"/>
              </a:rPr>
              <a:t>: </a:t>
            </a:r>
            <a:r>
              <a:rPr lang="da-DK" sz="1200" baseline="0" dirty="0">
                <a:solidFill>
                  <a:schemeClr val="bg1"/>
                </a:solidFill>
                <a:latin typeface="+mn-lt"/>
              </a:rPr>
              <a:t>Det bedste fra to verdener</a:t>
            </a:r>
          </a:p>
        </p:txBody>
      </p:sp>
      <p:sp>
        <p:nvSpPr>
          <p:cNvPr id="2" name="Tekstfelt 1"/>
          <p:cNvSpPr txBox="1"/>
          <p:nvPr userDrawn="1"/>
        </p:nvSpPr>
        <p:spPr>
          <a:xfrm>
            <a:off x="10681332" y="6292800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198BB49-A0B4-4DEE-A4B6-9D1DA05534CE}" type="slidenum">
              <a:rPr lang="da-DK" sz="1200" b="1" smtClean="0">
                <a:solidFill>
                  <a:schemeClr val="bg1"/>
                </a:solidFill>
                <a:latin typeface="+mn-lt"/>
              </a:rPr>
              <a:pPr algn="r"/>
              <a:t>‹nr.›</a:t>
            </a:fld>
            <a:endParaRPr lang="da-DK" sz="1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Billede 7" descr="Et billede, der indeholder tekst, Font/skrifttype, hvid, typografi">
            <a:extLst>
              <a:ext uri="{FF2B5EF4-FFF2-40B4-BE49-F238E27FC236}">
                <a16:creationId xmlns:a16="http://schemas.microsoft.com/office/drawing/2014/main" id="{BD0CBB6B-37BE-5669-2AB0-324B2699EED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4317" y="249446"/>
            <a:ext cx="1640616" cy="723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671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None/>
        <a:defRPr sz="18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0" marR="0" indent="0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20000"/>
        <a:buFont typeface="Arial" panose="020B0604020202020204" pitchFamily="34" charset="0"/>
        <a:buNone/>
        <a:tabLst/>
        <a:defRPr sz="1600">
          <a:solidFill>
            <a:schemeClr val="tx1"/>
          </a:solidFill>
          <a:latin typeface="+mn-lt"/>
          <a:cs typeface="Arial" pitchFamily="34" charset="0"/>
        </a:defRPr>
      </a:lvl2pPr>
      <a:lvl3pPr marL="810000" indent="-2700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080000" indent="-2304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350000" indent="-2304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0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1.xml"/><Relationship Id="rId6" Type="http://schemas.openxmlformats.org/officeDocument/2006/relationships/hyperlink" Target="https://tegninger.no/produkt/rote-kontor-naeringsliv/" TargetMode="External"/><Relationship Id="rId5" Type="http://schemas.openxmlformats.org/officeDocument/2006/relationships/image" Target="../media/image59.jpg"/><Relationship Id="rId4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9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image" Target="../media/image42.tmp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tmp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80E46D0-719C-6832-E8BD-096D927196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E6CBC9-0967-64EF-892B-99469BAE23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8B86DBE-653E-8BD4-59CE-DC0A1C4EC052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7" b="5357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C5FBEA5F-BF33-562C-5813-DC7CC1E1B012}"/>
              </a:ext>
            </a:extLst>
          </p:cNvPr>
          <p:cNvSpPr txBox="1"/>
          <p:nvPr/>
        </p:nvSpPr>
        <p:spPr>
          <a:xfrm>
            <a:off x="177209" y="549083"/>
            <a:ext cx="1132022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8000" b="1" dirty="0">
                <a:solidFill>
                  <a:schemeClr val="bg1"/>
                </a:solidFill>
                <a:latin typeface="Aptos" panose="020B0004020202020204" pitchFamily="34" charset="0"/>
                <a:cs typeface="K2D" panose="00000500000000000000" pitchFamily="2" charset="-34"/>
              </a:rPr>
              <a:t>Assens Kommune</a:t>
            </a:r>
          </a:p>
          <a:p>
            <a:pPr algn="ctr"/>
            <a:r>
              <a:rPr lang="da-DK" sz="6000" b="1" dirty="0">
                <a:solidFill>
                  <a:schemeClr val="bg1"/>
                </a:solidFill>
                <a:latin typeface="Aptos" panose="020B0004020202020204" pitchFamily="34" charset="0"/>
                <a:cs typeface="K2D" panose="00000500000000000000" pitchFamily="2" charset="-34"/>
              </a:rPr>
              <a:t>De Lokale Treparter </a:t>
            </a:r>
          </a:p>
          <a:p>
            <a:pPr marL="2228850" lvl="3" indent="-857250">
              <a:buFont typeface="Arial" panose="020B0604020202020204" pitchFamily="34" charset="0"/>
              <a:buChar char="•"/>
            </a:pPr>
            <a:r>
              <a:rPr lang="da-DK" sz="6000" b="1" dirty="0">
                <a:solidFill>
                  <a:schemeClr val="bg1"/>
                </a:solidFill>
                <a:latin typeface="Aptos" panose="020B0004020202020204" pitchFamily="34" charset="0"/>
                <a:cs typeface="K2D" panose="00000500000000000000" pitchFamily="2" charset="-34"/>
              </a:rPr>
              <a:t>Odense Fjord</a:t>
            </a:r>
          </a:p>
          <a:p>
            <a:pPr marL="2228850" lvl="3" indent="-857250">
              <a:buFont typeface="Arial" panose="020B0604020202020204" pitchFamily="34" charset="0"/>
              <a:buChar char="•"/>
            </a:pPr>
            <a:r>
              <a:rPr lang="da-DK" sz="6000" b="1" dirty="0">
                <a:solidFill>
                  <a:schemeClr val="bg1"/>
                </a:solidFill>
                <a:latin typeface="Aptos" panose="020B0004020202020204" pitchFamily="34" charset="0"/>
                <a:cs typeface="K2D" panose="00000500000000000000" pitchFamily="2" charset="-34"/>
              </a:rPr>
              <a:t>Lillebælt - Fyn</a:t>
            </a:r>
          </a:p>
          <a:p>
            <a:pPr algn="ctr"/>
            <a:endParaRPr lang="da-DK" sz="6000" b="1" dirty="0">
              <a:solidFill>
                <a:schemeClr val="bg1"/>
              </a:solidFill>
              <a:latin typeface="Aptos" panose="020B0004020202020204" pitchFamily="34" charset="0"/>
              <a:cs typeface="K2D" panose="00000500000000000000" pitchFamily="2" charset="-34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0BA5D1F-CB23-AA5A-35A2-4A4E309B745F}"/>
              </a:ext>
            </a:extLst>
          </p:cNvPr>
          <p:cNvSpPr txBox="1"/>
          <p:nvPr/>
        </p:nvSpPr>
        <p:spPr>
          <a:xfrm>
            <a:off x="694565" y="4814244"/>
            <a:ext cx="93204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000" b="1" dirty="0">
                <a:solidFill>
                  <a:schemeClr val="bg1"/>
                </a:solidFill>
                <a:latin typeface="Aptos" panose="020B0004020202020204" pitchFamily="34" charset="0"/>
                <a:cs typeface="K2D" panose="00000500000000000000" pitchFamily="2" charset="-34"/>
              </a:rPr>
              <a:t>[Grønt råd 3. nov. 2025]</a:t>
            </a:r>
          </a:p>
        </p:txBody>
      </p:sp>
    </p:spTree>
    <p:extLst>
      <p:ext uri="{BB962C8B-B14F-4D97-AF65-F5344CB8AC3E}">
        <p14:creationId xmlns:p14="http://schemas.microsoft.com/office/powerpoint/2010/main" val="39451569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54516-A5C3-2331-14D5-E3F5E3131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A802E91-3CB7-E697-5619-27972CDFBF0A}"/>
              </a:ext>
            </a:extLst>
          </p:cNvPr>
          <p:cNvSpPr/>
          <p:nvPr/>
        </p:nvSpPr>
        <p:spPr>
          <a:xfrm>
            <a:off x="17699" y="-255523"/>
            <a:ext cx="389722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llebælt Fyn 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2B9313B4-FAC7-2359-07CF-3677CABCE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0889" y="-255523"/>
            <a:ext cx="4870979" cy="716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76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C9709BD-35B7-80FC-9E64-7C304E9C4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C98F8D5-CAD9-7B3D-86F4-DCAF9C0228E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1103" t="1" b="-373"/>
          <a:stretch/>
        </p:blipFill>
        <p:spPr>
          <a:xfrm>
            <a:off x="-74645" y="12082"/>
            <a:ext cx="12266645" cy="6894805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E5F97E22-A1BE-F31F-AF50-8A2EEB0CE892}"/>
              </a:ext>
            </a:extLst>
          </p:cNvPr>
          <p:cNvSpPr/>
          <p:nvPr/>
        </p:nvSpPr>
        <p:spPr>
          <a:xfrm>
            <a:off x="5525597" y="5934670"/>
            <a:ext cx="647792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llebælt Bredningen </a:t>
            </a:r>
          </a:p>
        </p:txBody>
      </p:sp>
    </p:spTree>
    <p:extLst>
      <p:ext uri="{BB962C8B-B14F-4D97-AF65-F5344CB8AC3E}">
        <p14:creationId xmlns:p14="http://schemas.microsoft.com/office/powerpoint/2010/main" val="3853708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B79F0-65AA-ADFB-E547-4F5BEAEA2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997CC7-7CCE-17F5-141F-03037ACE8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04753" y="-38035"/>
            <a:ext cx="3459051" cy="1325563"/>
          </a:xfrm>
        </p:spPr>
        <p:txBody>
          <a:bodyPr/>
          <a:lstStyle/>
          <a:p>
            <a:r>
              <a:rPr lang="da-DK" dirty="0"/>
              <a:t>Lillebælt Bredning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A3378FC-C32C-8F8C-97B0-BDCA638AF194}"/>
              </a:ext>
            </a:extLst>
          </p:cNvPr>
          <p:cNvSpPr txBox="1"/>
          <p:nvPr/>
        </p:nvSpPr>
        <p:spPr>
          <a:xfrm>
            <a:off x="9314923" y="1296762"/>
            <a:ext cx="34347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000" b="1" i="0" u="none" strike="noStrike" kern="1200" cap="none" spc="0" normalizeH="0" baseline="0" noProof="0" dirty="0">
                <a:ln>
                  <a:noFill/>
                </a:ln>
                <a:solidFill>
                  <a:srgbClr val="196B24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+ 112,8 t / 127 %  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C8BBE3C-6F73-014A-8665-120EF787F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7977673" cy="6934587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AC45FFD5-A531-B238-7502-2811FACF0BB3}"/>
              </a:ext>
            </a:extLst>
          </p:cNvPr>
          <p:cNvSpPr txBox="1"/>
          <p:nvPr/>
        </p:nvSpPr>
        <p:spPr>
          <a:xfrm>
            <a:off x="124354" y="5775649"/>
            <a:ext cx="3141360" cy="1158938"/>
          </a:xfrm>
          <a:prstGeom prst="rect">
            <a:avLst/>
          </a:prstGeom>
          <a:noFill/>
          <a:ln w="571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5DA04E67-50E9-EC89-E17D-1D3F3EB4590F}"/>
              </a:ext>
            </a:extLst>
          </p:cNvPr>
          <p:cNvSpPr txBox="1"/>
          <p:nvPr/>
        </p:nvSpPr>
        <p:spPr>
          <a:xfrm>
            <a:off x="124354" y="45277"/>
            <a:ext cx="3141360" cy="1158938"/>
          </a:xfrm>
          <a:prstGeom prst="rect">
            <a:avLst/>
          </a:prstGeom>
          <a:noFill/>
          <a:ln w="571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C8EC091-D47B-5CCA-D27F-889CE48F4742}"/>
              </a:ext>
            </a:extLst>
          </p:cNvPr>
          <p:cNvSpPr txBox="1"/>
          <p:nvPr/>
        </p:nvSpPr>
        <p:spPr>
          <a:xfrm>
            <a:off x="4830303" y="2849531"/>
            <a:ext cx="3141360" cy="1158938"/>
          </a:xfrm>
          <a:prstGeom prst="rect">
            <a:avLst/>
          </a:prstGeom>
          <a:noFill/>
          <a:ln w="571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6654795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87C4-8246-E234-3A3E-45770AA26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9BF9157-9038-7AB2-1650-06263D56BF40}"/>
              </a:ext>
            </a:extLst>
          </p:cNvPr>
          <p:cNvSpPr txBox="1">
            <a:spLocks/>
          </p:cNvSpPr>
          <p:nvPr/>
        </p:nvSpPr>
        <p:spPr>
          <a:xfrm>
            <a:off x="2235200" y="426967"/>
            <a:ext cx="5821680" cy="10577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3200" b="1" dirty="0">
                <a:solidFill>
                  <a:schemeClr val="bg1"/>
                </a:solidFill>
                <a:latin typeface="Merriweather" pitchFamily="2" charset="77"/>
                <a:ea typeface="Lato Heavy" panose="020F0502020204030203" pitchFamily="34" charset="0"/>
                <a:cs typeface="Lato Heavy" panose="020F0502020204030203" pitchFamily="34" charset="0"/>
              </a:rPr>
              <a:t>Biodiversitetskortet</a:t>
            </a:r>
            <a:endParaRPr lang="en-DK" sz="3200" b="1" dirty="0">
              <a:solidFill>
                <a:schemeClr val="bg1"/>
              </a:solidFill>
              <a:latin typeface="Merriweather" pitchFamily="2" charset="77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D8EA3F36-73F6-3EF4-0E1E-D518832360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581" y="857838"/>
            <a:ext cx="11109456" cy="741798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F237C84B-C194-A26F-344A-C7912CB56454}"/>
              </a:ext>
            </a:extLst>
          </p:cNvPr>
          <p:cNvSpPr txBox="1">
            <a:spLocks/>
          </p:cNvSpPr>
          <p:nvPr/>
        </p:nvSpPr>
        <p:spPr>
          <a:xfrm>
            <a:off x="1403350" y="103695"/>
            <a:ext cx="9385300" cy="75414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b="1" dirty="0" err="1"/>
              <a:t>DNs</a:t>
            </a:r>
            <a:r>
              <a:rPr lang="da-DK" b="1" dirty="0"/>
              <a:t> forslag til 3 fynske signaturprojekter</a:t>
            </a:r>
          </a:p>
        </p:txBody>
      </p:sp>
    </p:spTree>
    <p:extLst>
      <p:ext uri="{BB962C8B-B14F-4D97-AF65-F5344CB8AC3E}">
        <p14:creationId xmlns:p14="http://schemas.microsoft.com/office/powerpoint/2010/main" val="2404170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D8EA3F36-73F6-3EF4-0E1E-D518832360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1862" y="-556869"/>
            <a:ext cx="12415723" cy="79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91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2BB155-6BE6-D0FF-0E4B-4D39C8A31B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7BA67324-7950-A007-9391-70FBBDC52E3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35"/>
          <a:stretch/>
        </p:blipFill>
        <p:spPr>
          <a:xfrm>
            <a:off x="0" y="0"/>
            <a:ext cx="12672000" cy="7303542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B3C6F224-4CBE-601F-13A1-6391C8A2DD54}"/>
              </a:ext>
            </a:extLst>
          </p:cNvPr>
          <p:cNvSpPr txBox="1">
            <a:spLocks/>
          </p:cNvSpPr>
          <p:nvPr/>
        </p:nvSpPr>
        <p:spPr>
          <a:xfrm>
            <a:off x="1527586" y="6092825"/>
            <a:ext cx="9068696" cy="7778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Forslag</a:t>
            </a:r>
            <a:r>
              <a:rPr lang="da-DK" b="1" dirty="0"/>
              <a:t> </a:t>
            </a:r>
            <a:r>
              <a:rPr lang="da-DK" sz="4000" b="1" dirty="0"/>
              <a:t>signaturprojekt</a:t>
            </a:r>
            <a:r>
              <a:rPr lang="da-DK" b="1" dirty="0"/>
              <a:t> </a:t>
            </a:r>
            <a:r>
              <a:rPr lang="da-DK" b="1" dirty="0" err="1"/>
              <a:t>Højfyn</a:t>
            </a:r>
            <a:r>
              <a:rPr lang="da-DK" b="1" dirty="0"/>
              <a:t> til Lillebælt</a:t>
            </a:r>
          </a:p>
        </p:txBody>
      </p:sp>
    </p:spTree>
    <p:extLst>
      <p:ext uri="{BB962C8B-B14F-4D97-AF65-F5344CB8AC3E}">
        <p14:creationId xmlns:p14="http://schemas.microsoft.com/office/powerpoint/2010/main" val="2685664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48A34-4A36-AF16-1F93-D1A7751D9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445368-7122-42BD-3444-FB2A60383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781" y="60931"/>
            <a:ext cx="10994081" cy="1325563"/>
          </a:xfrm>
        </p:spPr>
        <p:txBody>
          <a:bodyPr/>
          <a:lstStyle/>
          <a:p>
            <a:r>
              <a:rPr lang="da-DK" b="1" dirty="0"/>
              <a:t>Opgørelse for</a:t>
            </a:r>
            <a:r>
              <a:rPr lang="da-DK" dirty="0"/>
              <a:t> Odense Fjord </a:t>
            </a:r>
            <a:endParaRPr lang="da-DK" sz="1500" b="1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7DDBE5F-7CF1-C5B1-4BC8-3CE68F69DA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8732" y="1472420"/>
            <a:ext cx="4546989" cy="483643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Lavbund og 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		403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   7.630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700 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kovrejs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5872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12 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254DA67A-43A4-A0F7-64A0-9E63C33220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228" y="1760687"/>
            <a:ext cx="1193688" cy="1102644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2067B1DA-8ECC-FE9E-195D-98428354B69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4959" b="7249"/>
          <a:stretch>
            <a:fillRect/>
          </a:stretch>
        </p:blipFill>
        <p:spPr>
          <a:xfrm>
            <a:off x="406942" y="4213441"/>
            <a:ext cx="1112003" cy="102718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E578168E-DACF-1BB2-961F-29B90BB63F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6384" y="1755124"/>
            <a:ext cx="1265327" cy="126532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7C5A9FB4-B75B-F51D-2B57-270FF1C25B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8221" y="4213441"/>
            <a:ext cx="1217650" cy="1152419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E8C61D5-32B0-52B9-637A-BF556268D918}"/>
              </a:ext>
            </a:extLst>
          </p:cNvPr>
          <p:cNvSpPr txBox="1"/>
          <p:nvPr/>
        </p:nvSpPr>
        <p:spPr>
          <a:xfrm>
            <a:off x="7291498" y="1282136"/>
            <a:ext cx="4589294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manent ekstensiv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902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3 t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2400" dirty="0">
              <a:solidFill>
                <a:prstClr val="black"/>
              </a:solidFill>
              <a:latin typeface="Aptos" panose="021100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Øvri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2692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0 tons</a:t>
            </a:r>
          </a:p>
        </p:txBody>
      </p:sp>
    </p:spTree>
    <p:extLst>
      <p:ext uri="{BB962C8B-B14F-4D97-AF65-F5344CB8AC3E}">
        <p14:creationId xmlns:p14="http://schemas.microsoft.com/office/powerpoint/2010/main" val="4236605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CAFEE-333D-A9CE-5362-A19E1C4C75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F6A93D-7DEA-B5E9-D6D3-D2FAD48F6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781" y="60931"/>
            <a:ext cx="10994081" cy="1325563"/>
          </a:xfrm>
        </p:spPr>
        <p:txBody>
          <a:bodyPr/>
          <a:lstStyle/>
          <a:p>
            <a:r>
              <a:rPr lang="da-DK" b="1" dirty="0"/>
              <a:t>Opgørelse for</a:t>
            </a:r>
            <a:r>
              <a:rPr lang="da-DK" dirty="0"/>
              <a:t> Lillebælt Fyn  </a:t>
            </a:r>
            <a:endParaRPr lang="da-DK" sz="1500" b="1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400AD8-E184-2A31-F389-60F2704CAC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8732" y="1472420"/>
            <a:ext cx="4546989" cy="483643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Lavbund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		68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	2264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77 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		224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410 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Mini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		3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7 tons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1BEAACBA-0675-E5E1-8D1F-E96B57CC12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288" y="2968619"/>
            <a:ext cx="1245907" cy="1194528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AA1D4CB0-9966-6F8A-F33B-A8BA7DF420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507" y="1285144"/>
            <a:ext cx="1193688" cy="1102644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078C08BF-CB20-E4CF-041C-892F0ED5113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4959" b="7249"/>
          <a:stretch>
            <a:fillRect/>
          </a:stretch>
        </p:blipFill>
        <p:spPr>
          <a:xfrm>
            <a:off x="6099923" y="1322872"/>
            <a:ext cx="1112003" cy="102718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60E8F7DF-A36B-5CAE-73E1-09D36443A8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437" y="2933220"/>
            <a:ext cx="1265327" cy="126532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9CFB1400-8C3B-36CD-2235-9467D702DC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4275" y="5027179"/>
            <a:ext cx="1217650" cy="115241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2CDF66EC-F9F8-DD6A-931B-8EB2ACAC35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0366" y="4912362"/>
            <a:ext cx="1123447" cy="110264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6C99E49A-852F-59B5-81A3-A8F0982F4896}"/>
              </a:ext>
            </a:extLst>
          </p:cNvPr>
          <p:cNvSpPr txBox="1"/>
          <p:nvPr/>
        </p:nvSpPr>
        <p:spPr>
          <a:xfrm>
            <a:off x="7291498" y="1282136"/>
            <a:ext cx="4589294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kovrejs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41t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manent ekstensiv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2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4 t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Øvri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</a:t>
            </a:r>
            <a:r>
              <a:rPr lang="da-DK" sz="2400" dirty="0">
                <a:solidFill>
                  <a:prstClr val="black"/>
                </a:solidFill>
                <a:latin typeface="Aptos" panose="02110004020202020204"/>
              </a:rPr>
              <a:t>0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0 tons</a:t>
            </a:r>
          </a:p>
        </p:txBody>
      </p:sp>
    </p:spTree>
    <p:extLst>
      <p:ext uri="{BB962C8B-B14F-4D97-AF65-F5344CB8AC3E}">
        <p14:creationId xmlns:p14="http://schemas.microsoft.com/office/powerpoint/2010/main" val="14878145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49581-5244-7526-D90E-E93AFCA37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B618DC-E9AA-5BE9-1727-C56AA43F1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781" y="60931"/>
            <a:ext cx="10994081" cy="1325563"/>
          </a:xfrm>
        </p:spPr>
        <p:txBody>
          <a:bodyPr/>
          <a:lstStyle/>
          <a:p>
            <a:r>
              <a:rPr lang="da-DK" b="1" dirty="0"/>
              <a:t>Opgørelse for</a:t>
            </a:r>
            <a:r>
              <a:rPr lang="da-DK" dirty="0"/>
              <a:t> Assens </a:t>
            </a:r>
            <a:endParaRPr lang="da-DK" sz="1500" b="1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5BD66F0-9ED5-E298-74A3-A4D05DE6FC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8732" y="1472420"/>
            <a:ext cx="4546989" cy="483643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Lavbund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12			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672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</a:t>
            </a:r>
            <a:r>
              <a:rPr lang="da-DK" sz="2500"/>
              <a:t>	27 </a:t>
            </a:r>
            <a:r>
              <a:rPr lang="da-DK" sz="2500" dirty="0"/>
              <a:t>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181		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	3423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289 tons</a:t>
            </a:r>
          </a:p>
          <a:p>
            <a:pPr marL="0" indent="0">
              <a:spcBef>
                <a:spcPts val="0"/>
              </a:spcBef>
              <a:buNone/>
            </a:pPr>
            <a:endParaRPr lang="da-DK" sz="2500" dirty="0"/>
          </a:p>
          <a:p>
            <a:pPr marL="0" indent="0">
              <a:spcBef>
                <a:spcPts val="0"/>
              </a:spcBef>
              <a:buNone/>
            </a:pPr>
            <a:r>
              <a:rPr lang="da-DK" sz="2500" b="1" dirty="0"/>
              <a:t>Mini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Antal: 	0		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areal: 0	 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500" dirty="0"/>
              <a:t>Samlet N-effekt:	0 tons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0015946-13CD-642A-0587-71A6618EEE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288" y="2968619"/>
            <a:ext cx="1245907" cy="1194528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F98B7630-4E45-40AC-E3CA-E05BA2E96E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507" y="1285144"/>
            <a:ext cx="1193688" cy="1102644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13743F6E-0037-EA13-10E4-0325D5FFBF6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4959" b="7249"/>
          <a:stretch>
            <a:fillRect/>
          </a:stretch>
        </p:blipFill>
        <p:spPr>
          <a:xfrm>
            <a:off x="6099923" y="1322872"/>
            <a:ext cx="1112003" cy="102718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344FDD2B-3197-8CB3-7AB5-5AFA0C4B5B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437" y="2933220"/>
            <a:ext cx="1265327" cy="126532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4B974F4-937F-C791-7AC5-1DAC5A5B27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4275" y="5027179"/>
            <a:ext cx="1217650" cy="115241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C2AC0732-E6E7-56D5-1970-157113AE15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0366" y="4912362"/>
            <a:ext cx="1123447" cy="110264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F4714407-FF69-52BD-FA65-6776A1BE44CB}"/>
              </a:ext>
            </a:extLst>
          </p:cNvPr>
          <p:cNvSpPr txBox="1"/>
          <p:nvPr/>
        </p:nvSpPr>
        <p:spPr>
          <a:xfrm>
            <a:off x="7291498" y="1282136"/>
            <a:ext cx="4589294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kovrejs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26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615	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9 t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manent ekstensiv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</a:t>
            </a:r>
            <a:r>
              <a:rPr lang="da-DK" sz="2400" dirty="0">
                <a:solidFill>
                  <a:prstClr val="black"/>
                </a:solidFill>
                <a:latin typeface="Aptos" panose="02110004020202020204"/>
              </a:rPr>
              <a:t>1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</a:t>
            </a:r>
            <a:r>
              <a:rPr lang="da-DK" sz="2400" dirty="0">
                <a:solidFill>
                  <a:prstClr val="black"/>
                </a:solidFill>
                <a:latin typeface="Aptos" panose="02110004020202020204"/>
              </a:rPr>
              <a:t>21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</a:t>
            </a:r>
            <a:r>
              <a:rPr lang="da-DK" sz="2400" dirty="0">
                <a:solidFill>
                  <a:prstClr val="black"/>
                </a:solidFill>
                <a:latin typeface="Aptos" panose="02110004020202020204"/>
              </a:rPr>
              <a:t>0,3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t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Øvri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ntal: 			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areal: 		</a:t>
            </a:r>
            <a:r>
              <a:rPr lang="da-DK" sz="2400" dirty="0">
                <a:solidFill>
                  <a:prstClr val="black"/>
                </a:solidFill>
                <a:latin typeface="Aptos" panose="02110004020202020204"/>
              </a:rPr>
              <a:t>0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let N-effekt:	0 tons</a:t>
            </a:r>
          </a:p>
        </p:txBody>
      </p:sp>
    </p:spTree>
    <p:extLst>
      <p:ext uri="{BB962C8B-B14F-4D97-AF65-F5344CB8AC3E}">
        <p14:creationId xmlns:p14="http://schemas.microsoft.com/office/powerpoint/2010/main" val="2739735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2" name="Picture 10" descr="Nyt vådområde ved Haarby på Vestfyn | TV 2 Fyn">
            <a:extLst>
              <a:ext uri="{FF2B5EF4-FFF2-40B4-BE49-F238E27FC236}">
                <a16:creationId xmlns:a16="http://schemas.microsoft.com/office/drawing/2014/main" id="{DA82A299-D8F2-A843-34AD-53A137D331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967" y="3632843"/>
            <a:ext cx="5825067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722EBF9-7D33-4AB5-AFE5-CCCA8A929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073" y="457974"/>
            <a:ext cx="6369644" cy="742142"/>
          </a:xfrm>
        </p:spPr>
        <p:txBody>
          <a:bodyPr>
            <a:normAutofit/>
          </a:bodyPr>
          <a:lstStyle/>
          <a:p>
            <a:r>
              <a:rPr lang="da-DK" sz="4000" dirty="0">
                <a:latin typeface="Georgia" panose="02040502050405020303" pitchFamily="18" charset="0"/>
              </a:rPr>
              <a:t>Hvad sker der nu </a:t>
            </a:r>
            <a:endParaRPr lang="da-DK" dirty="0">
              <a:latin typeface="Georgia" panose="02040502050405020303" pitchFamily="18" charset="0"/>
            </a:endParaRP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2954570-B98A-45AB-9B06-1D17E89A8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3073" y="1630126"/>
            <a:ext cx="6369644" cy="3910062"/>
          </a:xfrm>
        </p:spPr>
        <p:txBody>
          <a:bodyPr>
            <a:normAutofit lnSpcReduction="10000"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a-DK" sz="2000" b="1" dirty="0">
                <a:latin typeface="Georgia" panose="02040502050405020303" pitchFamily="18" charset="0"/>
              </a:rPr>
              <a:t>Tjek ved Styrelsen for Grøn Arealomlægning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2000" b="1" dirty="0">
                <a:latin typeface="Georgia" panose="02040502050405020303" pitchFamily="18" charset="0"/>
              </a:rPr>
              <a:t>Kvælstof, Lavbund</a:t>
            </a:r>
            <a:r>
              <a:rPr lang="da-DK" sz="2000" dirty="0">
                <a:latin typeface="Georgia" panose="02040502050405020303" pitchFamily="18" charset="0"/>
              </a:rPr>
              <a:t> – tjek 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2000" b="1" dirty="0" err="1">
                <a:latin typeface="Georgia" panose="02040502050405020303" pitchFamily="18" charset="0"/>
              </a:rPr>
              <a:t>Skovrejsningm</a:t>
            </a:r>
            <a:r>
              <a:rPr lang="da-DK" sz="2000" b="1" dirty="0">
                <a:latin typeface="Georgia" panose="02040502050405020303" pitchFamily="18" charset="0"/>
              </a:rPr>
              <a:t> Natur </a:t>
            </a:r>
            <a:r>
              <a:rPr lang="da-DK" sz="2000" dirty="0">
                <a:latin typeface="Georgia" panose="02040502050405020303" pitchFamily="18" charset="0"/>
              </a:rPr>
              <a:t>– status</a:t>
            </a:r>
            <a:endParaRPr lang="da-DK" sz="1800" b="0" i="0" u="none" strike="noStrike" baseline="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a-DK" sz="180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sz="2000" b="1" dirty="0">
                <a:solidFill>
                  <a:srgbClr val="000000"/>
                </a:solidFill>
                <a:latin typeface="Georgia" panose="02040502050405020303" pitchFamily="18" charset="0"/>
              </a:rPr>
              <a:t>Byrådet principbehandler version 1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a-DK" sz="2000" b="1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a-DK" sz="2000" b="1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a-DK" sz="180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sz="5400" dirty="0">
                <a:latin typeface="Georgia" panose="02040502050405020303" pitchFamily="18" charset="0"/>
              </a:rPr>
              <a:t>Arbejdet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sz="5400" dirty="0">
                <a:latin typeface="Georgia" panose="02040502050405020303" pitchFamily="18" charset="0"/>
              </a:rPr>
              <a:t>Begynder  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a-DK" sz="1999" dirty="0">
              <a:latin typeface="Georgia" panose="02040502050405020303" pitchFamily="18" charset="0"/>
            </a:endParaRPr>
          </a:p>
        </p:txBody>
      </p:sp>
      <p:sp>
        <p:nvSpPr>
          <p:cNvPr id="6" name="AutoShape 2" descr="Billedresultat for Vådområde Assens Strandby bæk">
            <a:extLst>
              <a:ext uri="{FF2B5EF4-FFF2-40B4-BE49-F238E27FC236}">
                <a16:creationId xmlns:a16="http://schemas.microsoft.com/office/drawing/2014/main" id="{BC1B6240-3831-EF32-BE34-A731AB01FD3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9" name="AutoShape 6" descr="Billedresultat for Vådområde Assens Strandby bæk">
            <a:extLst>
              <a:ext uri="{FF2B5EF4-FFF2-40B4-BE49-F238E27FC236}">
                <a16:creationId xmlns:a16="http://schemas.microsoft.com/office/drawing/2014/main" id="{20FFCEAA-5D5F-2454-2BA8-85E80A66BB2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080" name="Picture 8" descr="Envidan Denmark på LinkedIn: #klimapris2024">
            <a:extLst>
              <a:ext uri="{FF2B5EF4-FFF2-40B4-BE49-F238E27FC236}">
                <a16:creationId xmlns:a16="http://schemas.microsoft.com/office/drawing/2014/main" id="{6BC05894-D56B-8C15-78AA-82774CB0B2B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967" y="0"/>
            <a:ext cx="4841033" cy="363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lede 10" descr="Et billede, der indeholder skitse, tegning, kunst, illustration/afbildning&#10;&#10;Indhold genereret af kunstig intelligens kan være forkert.">
            <a:extLst>
              <a:ext uri="{FF2B5EF4-FFF2-40B4-BE49-F238E27FC236}">
                <a16:creationId xmlns:a16="http://schemas.microsoft.com/office/drawing/2014/main" id="{E610E097-98A7-19B2-9E9B-E1B3A0CBE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5260488" y="3632843"/>
            <a:ext cx="3317229" cy="33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99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22F6E-8145-F983-0C03-4A8E3FA0F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 descr="Et billede, der indeholder tøj, person, menneske, smil&#10;&#10;Indhold genereret af kunstig intelligens kan være forkert.">
            <a:extLst>
              <a:ext uri="{FF2B5EF4-FFF2-40B4-BE49-F238E27FC236}">
                <a16:creationId xmlns:a16="http://schemas.microsoft.com/office/drawing/2014/main" id="{E1E8404B-28A6-9F5F-2F57-A2845B90B8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93247"/>
            <a:ext cx="12192000" cy="9144000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EE789846-E743-5806-40D7-BA7A4DF0D998}"/>
              </a:ext>
            </a:extLst>
          </p:cNvPr>
          <p:cNvSpPr txBox="1"/>
          <p:nvPr/>
        </p:nvSpPr>
        <p:spPr>
          <a:xfrm>
            <a:off x="0" y="4548594"/>
            <a:ext cx="5766319" cy="2246769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a-DK" sz="2000" b="1" i="0" u="none" strike="noStrike" baseline="0" dirty="0">
                <a:latin typeface="Verdana" panose="020B0604030504040204" pitchFamily="34" charset="0"/>
              </a:rPr>
              <a:t>Medlemmer af treparten: </a:t>
            </a:r>
            <a:endParaRPr lang="da-DK" sz="2000" b="0" i="0" u="none" strike="noStrike" baseline="0" dirty="0">
              <a:latin typeface="Verdana" panose="020B0604030504040204" pitchFamily="34" charset="0"/>
            </a:endParaRPr>
          </a:p>
          <a:p>
            <a:endParaRPr lang="da-DK" sz="2000" b="0" i="0" u="none" strike="noStrike" baseline="0" dirty="0">
              <a:latin typeface="Verdana" panose="020B0604030504040204" pitchFamily="34" charset="0"/>
            </a:endParaRPr>
          </a:p>
          <a:p>
            <a:r>
              <a:rPr lang="da-DK" sz="2000" b="0" i="0" u="none" strike="noStrike" baseline="0" dirty="0">
                <a:latin typeface="Verdana" panose="020B0604030504040204" pitchFamily="34" charset="0"/>
              </a:rPr>
              <a:t>Landbruget</a:t>
            </a:r>
          </a:p>
          <a:p>
            <a:r>
              <a:rPr lang="da-DK" sz="2000" b="0" i="0" u="none" strike="noStrike" baseline="0" dirty="0">
                <a:latin typeface="Verdana" panose="020B0604030504040204" pitchFamily="34" charset="0"/>
              </a:rPr>
              <a:t>Danmarks Naturfredningsforening </a:t>
            </a:r>
          </a:p>
          <a:p>
            <a:r>
              <a:rPr lang="da-DK" sz="2000" b="0" i="0" u="none" strike="noStrike" baseline="0" dirty="0">
                <a:latin typeface="Verdana" panose="020B0604030504040204" pitchFamily="34" charset="0"/>
              </a:rPr>
              <a:t>Naturstyrelsen</a:t>
            </a:r>
          </a:p>
          <a:p>
            <a:r>
              <a:rPr lang="da-DK" sz="2000" dirty="0">
                <a:latin typeface="Verdana" panose="020B0604030504040204" pitchFamily="34" charset="0"/>
              </a:rPr>
              <a:t>Berørte Kommuner </a:t>
            </a:r>
            <a:r>
              <a:rPr lang="da-DK" sz="2000" b="0" i="0" u="none" strike="noStrike" baseline="0" dirty="0">
                <a:latin typeface="Verdana" panose="020B0604030504040204" pitchFamily="34" charset="0"/>
              </a:rPr>
              <a:t> </a:t>
            </a:r>
          </a:p>
          <a:p>
            <a:endParaRPr lang="da-DK" sz="2000" b="0" i="0" u="none" strike="noStrike" baseline="0" dirty="0">
              <a:latin typeface="Verdana" panose="020B0604030504040204" pitchFamily="34" charset="0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F87C4873-8825-5503-17BA-AF84F658941A}"/>
              </a:ext>
            </a:extLst>
          </p:cNvPr>
          <p:cNvSpPr/>
          <p:nvPr/>
        </p:nvSpPr>
        <p:spPr>
          <a:xfrm>
            <a:off x="5766318" y="4548594"/>
            <a:ext cx="6425682" cy="3139321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r>
              <a:rPr lang="da-DK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emaer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Kvælstof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inivådområd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atur og biodiversit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kovrejsning</a:t>
            </a:r>
            <a:endParaRPr lang="da-DK" sz="2400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chemeClr val="bg1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mlægning af landbrugsareal</a:t>
            </a:r>
          </a:p>
          <a:p>
            <a:r>
              <a:rPr lang="da-DK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41A8A8F-29FC-86D3-46D9-4F02EF7FF233}"/>
              </a:ext>
            </a:extLst>
          </p:cNvPr>
          <p:cNvSpPr/>
          <p:nvPr/>
        </p:nvSpPr>
        <p:spPr>
          <a:xfrm>
            <a:off x="2476664" y="2396592"/>
            <a:ext cx="184730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da-DK" sz="5400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  <a:p>
            <a:pPr algn="ctr"/>
            <a:endParaRPr lang="da-DK" sz="5400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0729BEF8-9699-699C-A453-7D1D01B5D510}"/>
              </a:ext>
            </a:extLst>
          </p:cNvPr>
          <p:cNvSpPr txBox="1"/>
          <p:nvPr/>
        </p:nvSpPr>
        <p:spPr>
          <a:xfrm>
            <a:off x="342511" y="3166032"/>
            <a:ext cx="1103947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4800" b="1" dirty="0">
                <a:solidFill>
                  <a:schemeClr val="bg1"/>
                </a:solidFill>
                <a:latin typeface="K2D" panose="00000500000000000000" pitchFamily="2" charset="-34"/>
                <a:cs typeface="K2D" panose="00000500000000000000" pitchFamily="2" charset="-34"/>
              </a:rPr>
              <a:t>Omlægningsplan Odense Fjord aftale   6. okt. 2025 Omlægningsplan Lillebælt Fyn  aftale 28. okt. 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da-DK" sz="3600" dirty="0">
              <a:solidFill>
                <a:schemeClr val="bg1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da-DK" sz="3600" dirty="0">
              <a:solidFill>
                <a:schemeClr val="bg1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da-DK" sz="3600" dirty="0">
              <a:solidFill>
                <a:schemeClr val="bg1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77564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arby Vådområde - Small Danish Hotels">
            <a:extLst>
              <a:ext uri="{FF2B5EF4-FFF2-40B4-BE49-F238E27FC236}">
                <a16:creationId xmlns:a16="http://schemas.microsoft.com/office/drawing/2014/main" id="{CBBF839F-7D71-2AAC-E856-50F3E677B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66FA0AA-D4D6-17CE-1DE7-A1E09ED5AC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a-DK" sz="6000" b="1" dirty="0">
                <a:solidFill>
                  <a:srgbClr val="FFFFFF"/>
                </a:solidFill>
              </a:rPr>
              <a:t>Spørgsmål og Drøftelse </a:t>
            </a:r>
          </a:p>
          <a:p>
            <a:pPr marL="0" indent="0">
              <a:buNone/>
            </a:pPr>
            <a:endParaRPr lang="da-DK" sz="6000" b="1" dirty="0">
              <a:solidFill>
                <a:srgbClr val="FFFFFF"/>
              </a:solidFill>
            </a:endParaRPr>
          </a:p>
          <a:p>
            <a:pPr marL="0" indent="0">
              <a:buNone/>
            </a:pPr>
            <a:r>
              <a:rPr lang="da-DK" sz="6000" b="1" dirty="0">
                <a:solidFill>
                  <a:srgbClr val="FFFFFF"/>
                </a:solidFill>
              </a:rPr>
              <a:t>Evt. samlet signal til Byråd Billede	</a:t>
            </a:r>
          </a:p>
        </p:txBody>
      </p:sp>
    </p:spTree>
    <p:extLst>
      <p:ext uri="{BB962C8B-B14F-4D97-AF65-F5344CB8AC3E}">
        <p14:creationId xmlns:p14="http://schemas.microsoft.com/office/powerpoint/2010/main" val="4170474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0379B06-8629-6C29-71D6-4CB88D3A84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134" y="1106668"/>
            <a:ext cx="11101899" cy="5417946"/>
          </a:xfrm>
        </p:spPr>
        <p:txBody>
          <a:bodyPr/>
          <a:lstStyle/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a-DK" sz="2500" dirty="0">
                <a:latin typeface="Aptos" panose="020B0004020202020204" pitchFamily="34" charset="0"/>
              </a:rPr>
              <a:t>skal vise vejen til indfrielse af </a:t>
            </a:r>
            <a:r>
              <a:rPr lang="da-DK" sz="2500" b="1" dirty="0">
                <a:latin typeface="Aptos" panose="020B0004020202020204" pitchFamily="34" charset="0"/>
              </a:rPr>
              <a:t>indsatsbehovet for kvælstof</a:t>
            </a:r>
            <a:r>
              <a:rPr lang="da-DK" sz="2500" dirty="0">
                <a:latin typeface="Aptos" panose="020B0004020202020204" pitchFamily="34" charset="0"/>
              </a:rPr>
              <a:t>, </a:t>
            </a:r>
            <a:r>
              <a:rPr lang="da-DK" sz="2500" b="1" dirty="0">
                <a:latin typeface="Aptos" panose="020B0004020202020204" pitchFamily="34" charset="0"/>
              </a:rPr>
              <a:t>udtagning af lavbundsjorde</a:t>
            </a:r>
            <a:r>
              <a:rPr lang="da-DK" sz="2500" dirty="0">
                <a:latin typeface="Aptos" panose="020B0004020202020204" pitchFamily="34" charset="0"/>
              </a:rPr>
              <a:t> og det forventede bidrag til </a:t>
            </a:r>
            <a:r>
              <a:rPr lang="da-DK" sz="2500" b="1" dirty="0">
                <a:latin typeface="Aptos" panose="020B0004020202020204" pitchFamily="34" charset="0"/>
              </a:rPr>
              <a:t>skovrejsning og natur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a-DK" sz="2500" dirty="0">
                <a:latin typeface="Aptos" panose="020B0004020202020204" pitchFamily="34" charset="0"/>
              </a:rPr>
              <a:t>er </a:t>
            </a:r>
            <a:r>
              <a:rPr lang="da-DK" sz="2500" b="1" dirty="0">
                <a:latin typeface="Aptos" panose="020B0004020202020204" pitchFamily="34" charset="0"/>
              </a:rPr>
              <a:t>dynamisk</a:t>
            </a:r>
            <a:r>
              <a:rPr lang="da-DK" sz="2500" dirty="0">
                <a:latin typeface="Aptos" panose="020B0004020202020204" pitchFamily="34" charset="0"/>
              </a:rPr>
              <a:t> og skal opdateres løbende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a-DK" sz="2500" dirty="0">
              <a:latin typeface="Aptos" panose="020B0004020202020204" pitchFamily="34" charset="0"/>
            </a:endParaRP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a-DK" sz="2500" dirty="0">
                <a:latin typeface="Aptos" panose="020B0004020202020204" pitchFamily="34" charset="0"/>
              </a:rPr>
              <a:t>”De lokale treparter”, som består af kommuner, Danmarks Naturfredningsforening, og Landbruget, udarbejder planen 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a-DK" sz="2500" dirty="0">
              <a:latin typeface="Aptos" panose="020B0004020202020204" pitchFamily="34" charset="0"/>
            </a:endParaRP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a-DK" sz="2500" dirty="0">
                <a:latin typeface="Aptos" panose="020B0004020202020204" pitchFamily="34" charset="0"/>
              </a:rPr>
              <a:t>Kommunerne screener arealer etc. , men input kan også komme fra lodsejere, udtagningskonsulenter, Naturstyrelsen, Danmarks Naturfredningsforening ………….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a-DK" sz="2500" dirty="0">
              <a:latin typeface="Aptos" panose="020B0004020202020204" pitchFamily="34" charset="0"/>
            </a:endParaRPr>
          </a:p>
          <a:p>
            <a:endParaRPr lang="da-DK" sz="2000" dirty="0">
              <a:latin typeface="Aptos" panose="020B0004020202020204" pitchFamily="34" charset="0"/>
            </a:endParaRPr>
          </a:p>
          <a:p>
            <a:endParaRPr lang="da-DK" sz="2000" dirty="0">
              <a:latin typeface="Aptos" panose="020B0004020202020204" pitchFamily="34" charset="0"/>
            </a:endParaRPr>
          </a:p>
          <a:p>
            <a:endParaRPr lang="da-DK" sz="2000" dirty="0">
              <a:latin typeface="Aptos" panose="020B0004020202020204" pitchFamily="34" charset="0"/>
            </a:endParaRPr>
          </a:p>
          <a:p>
            <a:endParaRPr lang="da-DK" sz="2000" dirty="0">
              <a:latin typeface="Aptos" panose="020B0004020202020204" pitchFamily="34" charset="0"/>
            </a:endParaRPr>
          </a:p>
          <a:p>
            <a:endParaRPr lang="da-DK" sz="2000" dirty="0">
              <a:latin typeface="Aptos" panose="020B0004020202020204" pitchFamily="34" charset="0"/>
            </a:endParaRPr>
          </a:p>
          <a:p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F192D7-5E92-8D1A-4DAC-2F069C21F12E}"/>
              </a:ext>
            </a:extLst>
          </p:cNvPr>
          <p:cNvSpPr txBox="1">
            <a:spLocks/>
          </p:cNvSpPr>
          <p:nvPr/>
        </p:nvSpPr>
        <p:spPr>
          <a:xfrm>
            <a:off x="942160" y="333386"/>
            <a:ext cx="9613802" cy="546847"/>
          </a:xfrm>
          <a:prstGeom prst="rect">
            <a:avLst/>
          </a:prstGeom>
        </p:spPr>
        <p:txBody>
          <a:bodyPr vert="horz" lIns="91440" tIns="36000" rIns="91440" bIns="45720" rtlCol="0" anchor="t">
            <a:noAutofit/>
          </a:bodyPr>
          <a:lstStyle>
            <a:lvl1pPr algn="l" defTabSz="4526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a-DK" sz="4000" b="1" kern="1200">
                <a:solidFill>
                  <a:schemeClr val="bg1"/>
                </a:solidFill>
                <a:latin typeface="K2D" panose="00000500000000000000" pitchFamily="2" charset="-34"/>
                <a:ea typeface="+mj-ea"/>
                <a:cs typeface="K2D" panose="00000500000000000000" pitchFamily="2" charset="-34"/>
              </a:defRPr>
            </a:lvl1pPr>
          </a:lstStyle>
          <a:p>
            <a:pPr marL="0" marR="0" lvl="0" indent="0" defTabSz="45269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1" i="0" u="none" strike="noStrike" kern="1200" cap="none" spc="0" normalizeH="0" baseline="0" noProof="0" dirty="0">
                <a:ln>
                  <a:noFill/>
                </a:ln>
                <a:solidFill>
                  <a:srgbClr val="004139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K2D" panose="00000500000000000000" pitchFamily="2" charset="-34"/>
              </a:rPr>
              <a:t>OMLÆGNINGSPLANEN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32F04E4A-2CC6-DE5A-9382-8A53FA33CD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DC2923EC-A42C-29F9-E1F0-D308ADADB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7" b="5357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1270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CA855925-E546-692A-5A37-C7FA1C920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0774" y="-74644"/>
            <a:ext cx="6689456" cy="7251442"/>
          </a:xfrm>
          <a:prstGeom prst="rect">
            <a:avLst/>
          </a:prstGeom>
          <a:noFill/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7842AED3-A596-3FEB-60C8-5911D070BA22}"/>
              </a:ext>
            </a:extLst>
          </p:cNvPr>
          <p:cNvSpPr txBox="1"/>
          <p:nvPr/>
        </p:nvSpPr>
        <p:spPr>
          <a:xfrm>
            <a:off x="21771" y="0"/>
            <a:ext cx="5459003" cy="6863417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l"/>
            <a:endParaRPr lang="da-DK" sz="6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algn="l"/>
            <a:r>
              <a:rPr lang="da-DK" sz="6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23 lokale treparter</a:t>
            </a:r>
          </a:p>
          <a:p>
            <a:pPr algn="l"/>
            <a:r>
              <a:rPr lang="da-DK" sz="6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Assens med i :</a:t>
            </a:r>
          </a:p>
          <a:p>
            <a:pPr marL="857250" indent="-857250" algn="l">
              <a:buFont typeface="Arial" panose="020B0604020202020204" pitchFamily="34" charset="0"/>
              <a:buChar char="•"/>
            </a:pPr>
            <a:r>
              <a:rPr lang="da-DK" sz="6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Odense Fjord</a:t>
            </a:r>
          </a:p>
          <a:p>
            <a:pPr marL="857250" indent="-857250" algn="l">
              <a:buFont typeface="Arial" panose="020B0604020202020204" pitchFamily="34" charset="0"/>
              <a:buChar char="•"/>
            </a:pPr>
            <a:r>
              <a:rPr lang="da-DK" sz="6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Lillebælt Fyn </a:t>
            </a:r>
          </a:p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algn="l"/>
            <a:r>
              <a:rPr lang="da-DK" sz="2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Assens Har formandskab i Lillebælt Fyn</a:t>
            </a:r>
          </a:p>
          <a:p>
            <a:pPr algn="l"/>
            <a:r>
              <a:rPr lang="da-DK" sz="2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Lillebælt Fyn har sekretariat sammen med Lillebælt Jylland</a:t>
            </a:r>
          </a:p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algn="l"/>
            <a:endParaRPr lang="da-DK" sz="2000" dirty="0">
              <a:solidFill>
                <a:schemeClr val="tx2"/>
              </a:solidFill>
              <a:latin typeface="K2D" panose="00000500000000000000" pitchFamily="2" charset="-34"/>
              <a:cs typeface="K2D" panose="00000500000000000000" pitchFamily="2" charset="-34"/>
            </a:endParaRPr>
          </a:p>
          <a:p>
            <a:pPr algn="l"/>
            <a:r>
              <a:rPr lang="da-DK" sz="2000" dirty="0">
                <a:solidFill>
                  <a:schemeClr val="tx2"/>
                </a:solidFill>
                <a:latin typeface="K2D" panose="00000500000000000000" pitchFamily="2" charset="-34"/>
                <a:cs typeface="K2D" panose="00000500000000000000" pitchFamily="2" charset="-3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1439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5FDA64-C6A3-268E-2473-5D6A85CAFDA5}"/>
              </a:ext>
            </a:extLst>
          </p:cNvPr>
          <p:cNvSpPr>
            <a:spLocks noGrp="1"/>
          </p:cNvSpPr>
          <p:nvPr>
            <p:ph type="title"/>
          </p:nvPr>
        </p:nvSpPr>
        <p:spPr/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da-DK" dirty="0"/>
              <a:t>Omlægningsplanens nationale indsatser</a:t>
            </a:r>
          </a:p>
        </p:txBody>
      </p:sp>
      <p:graphicFrame>
        <p:nvGraphicFramePr>
          <p:cNvPr id="4" name="Pladsholder til indhold 3">
            <a:extLst>
              <a:ext uri="{FF2B5EF4-FFF2-40B4-BE49-F238E27FC236}">
                <a16:creationId xmlns:a16="http://schemas.microsoft.com/office/drawing/2014/main" id="{5846D5BA-5890-110B-D273-1244865DDD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679494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kstfelt 4">
            <a:extLst>
              <a:ext uri="{FF2B5EF4-FFF2-40B4-BE49-F238E27FC236}">
                <a16:creationId xmlns:a16="http://schemas.microsoft.com/office/drawing/2014/main" id="{BA8B966B-DA35-F926-C11F-B1681F4CF785}"/>
              </a:ext>
            </a:extLst>
          </p:cNvPr>
          <p:cNvSpPr txBox="1"/>
          <p:nvPr/>
        </p:nvSpPr>
        <p:spPr>
          <a:xfrm>
            <a:off x="1418252" y="6438122"/>
            <a:ext cx="9610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Der er ca. 43 mia. i Danmarks Grønne arealfond: Ca. 9,4 lavbund, 12,3 N-reducerende, 22 skov </a:t>
            </a:r>
          </a:p>
        </p:txBody>
      </p:sp>
    </p:spTree>
    <p:extLst>
      <p:ext uri="{BB962C8B-B14F-4D97-AF65-F5344CB8AC3E}">
        <p14:creationId xmlns:p14="http://schemas.microsoft.com/office/powerpoint/2010/main" val="1287500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 descr="Et billede, der indeholder Ansigt, tøj, smil, person&#10;&#10;Indhold genereret af kunstig intelligens kan være forkert.">
            <a:extLst>
              <a:ext uri="{FF2B5EF4-FFF2-40B4-BE49-F238E27FC236}">
                <a16:creationId xmlns:a16="http://schemas.microsoft.com/office/drawing/2014/main" id="{DD1DEA8E-72BD-FCF7-F3CA-344234BAFC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8"/>
          <a:stretch/>
        </p:blipFill>
        <p:spPr>
          <a:xfrm>
            <a:off x="1113729" y="4550193"/>
            <a:ext cx="9964541" cy="3216021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23E80A31-10B8-CC3F-C23D-6F662A6E3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13" y="27992"/>
            <a:ext cx="5157787" cy="671804"/>
          </a:xfrm>
        </p:spPr>
        <p:txBody>
          <a:bodyPr/>
          <a:lstStyle/>
          <a:p>
            <a:r>
              <a:rPr lang="da-DK" dirty="0"/>
              <a:t>De to treparters proces 2025</a:t>
            </a:r>
          </a:p>
        </p:txBody>
      </p:sp>
      <p:graphicFrame>
        <p:nvGraphicFramePr>
          <p:cNvPr id="22" name="Pladsholder til indhold 21">
            <a:extLst>
              <a:ext uri="{FF2B5EF4-FFF2-40B4-BE49-F238E27FC236}">
                <a16:creationId xmlns:a16="http://schemas.microsoft.com/office/drawing/2014/main" id="{F91188D9-889C-CC30-6A69-7E3F234A56DA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967619680"/>
              </p:ext>
            </p:extLst>
          </p:nvPr>
        </p:nvGraphicFramePr>
        <p:xfrm>
          <a:off x="597161" y="699796"/>
          <a:ext cx="5397240" cy="4108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B35667AF-F587-6571-1486-D915323162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7602" y="27992"/>
            <a:ext cx="5183188" cy="671804"/>
          </a:xfrm>
        </p:spPr>
        <p:txBody>
          <a:bodyPr/>
          <a:lstStyle/>
          <a:p>
            <a:r>
              <a:rPr lang="da-DK" dirty="0"/>
              <a:t>Assens Kommunes proces 2025</a:t>
            </a:r>
          </a:p>
        </p:txBody>
      </p:sp>
      <p:graphicFrame>
        <p:nvGraphicFramePr>
          <p:cNvPr id="23" name="Pladsholder til indhold 22">
            <a:extLst>
              <a:ext uri="{FF2B5EF4-FFF2-40B4-BE49-F238E27FC236}">
                <a16:creationId xmlns:a16="http://schemas.microsoft.com/office/drawing/2014/main" id="{8F2F2ADF-DCB9-88EB-2F99-5C45B35884D5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955961900"/>
              </p:ext>
            </p:extLst>
          </p:nvPr>
        </p:nvGraphicFramePr>
        <p:xfrm>
          <a:off x="6197602" y="699796"/>
          <a:ext cx="5397237" cy="4108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6" name="Tekstfelt 5">
            <a:extLst>
              <a:ext uri="{FF2B5EF4-FFF2-40B4-BE49-F238E27FC236}">
                <a16:creationId xmlns:a16="http://schemas.microsoft.com/office/drawing/2014/main" id="{6B0E077C-E3AF-0FF5-07D6-64297AC643C9}"/>
              </a:ext>
            </a:extLst>
          </p:cNvPr>
          <p:cNvSpPr txBox="1"/>
          <p:nvPr/>
        </p:nvSpPr>
        <p:spPr>
          <a:xfrm>
            <a:off x="261257" y="4973216"/>
            <a:ext cx="15115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Team Grøn Trepart Assens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D49AEB2-B9DE-2677-7774-2F2F48C24812}"/>
              </a:ext>
            </a:extLst>
          </p:cNvPr>
          <p:cNvSpPr/>
          <p:nvPr/>
        </p:nvSpPr>
        <p:spPr>
          <a:xfrm>
            <a:off x="1772816" y="6512007"/>
            <a:ext cx="217822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a-DK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Jannik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10BE494-6C0D-E2E6-42D1-5BA36E931B44}"/>
              </a:ext>
            </a:extLst>
          </p:cNvPr>
          <p:cNvSpPr/>
          <p:nvPr/>
        </p:nvSpPr>
        <p:spPr>
          <a:xfrm>
            <a:off x="6410671" y="6537292"/>
            <a:ext cx="217822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a-DK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Nikki</a:t>
            </a:r>
            <a:endParaRPr lang="da-DK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7338B66-6906-3F2A-4A03-C165C9842717}"/>
              </a:ext>
            </a:extLst>
          </p:cNvPr>
          <p:cNvSpPr/>
          <p:nvPr/>
        </p:nvSpPr>
        <p:spPr>
          <a:xfrm>
            <a:off x="8588895" y="6537292"/>
            <a:ext cx="217822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a-DK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ne</a:t>
            </a:r>
            <a:endParaRPr lang="da-DK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0761ACC-EBB2-638A-B1DC-6E6359185022}"/>
              </a:ext>
            </a:extLst>
          </p:cNvPr>
          <p:cNvSpPr/>
          <p:nvPr/>
        </p:nvSpPr>
        <p:spPr>
          <a:xfrm>
            <a:off x="3715879" y="6537292"/>
            <a:ext cx="217822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a-DK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irthe</a:t>
            </a:r>
          </a:p>
        </p:txBody>
      </p:sp>
    </p:spTree>
    <p:extLst>
      <p:ext uri="{BB962C8B-B14F-4D97-AF65-F5344CB8AC3E}">
        <p14:creationId xmlns:p14="http://schemas.microsoft.com/office/powerpoint/2010/main" val="28407022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D20E9D14-CD28-4579-A43B-89FA5609D893" descr="IMG_9116.jpeg">
            <a:extLst>
              <a:ext uri="{FF2B5EF4-FFF2-40B4-BE49-F238E27FC236}">
                <a16:creationId xmlns:a16="http://schemas.microsoft.com/office/drawing/2014/main" id="{70FC1173-5927-9D30-9527-B7C6A5DB6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8399" y="-1429843"/>
            <a:ext cx="11152150" cy="836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8CFD9965-F0B3-D7D2-C0E8-FAB98421D999}"/>
              </a:ext>
            </a:extLst>
          </p:cNvPr>
          <p:cNvSpPr/>
          <p:nvPr/>
        </p:nvSpPr>
        <p:spPr>
          <a:xfrm>
            <a:off x="-66675" y="366948"/>
            <a:ext cx="6629400" cy="212365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da-DK" sz="66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8 Lodsejermøder</a:t>
            </a:r>
          </a:p>
          <a:p>
            <a:r>
              <a:rPr lang="da-DK" sz="66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650 deltagere</a:t>
            </a:r>
          </a:p>
        </p:txBody>
      </p:sp>
    </p:spTree>
    <p:extLst>
      <p:ext uri="{BB962C8B-B14F-4D97-AF65-F5344CB8AC3E}">
        <p14:creationId xmlns:p14="http://schemas.microsoft.com/office/powerpoint/2010/main" val="2001725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E4628-93FE-B994-25E2-9F6BE6E544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85426D-7DCE-12EA-11DC-E06FE5046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012" y="0"/>
            <a:ext cx="10642988" cy="1325563"/>
          </a:xfrm>
        </p:spPr>
        <p:txBody>
          <a:bodyPr/>
          <a:lstStyle/>
          <a:p>
            <a:r>
              <a:rPr lang="da-DK" b="1" dirty="0"/>
              <a:t>Standard tal  og støtteordninger 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FBD4676-F3FA-F2DC-9A75-828FAC4FA1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12" y="1325563"/>
            <a:ext cx="4546989" cy="483643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Lavbund (CO2)	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dirty="0"/>
              <a:t>40 kg N/ha/år </a:t>
            </a: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Støtteordning aktuel</a:t>
            </a:r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dirty="0"/>
              <a:t>90 kg N/ha/år</a:t>
            </a: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Støtteordning </a:t>
            </a:r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Små vådområder / Fast-track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dirty="0"/>
              <a:t>90 kg N/ha/å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Samme støtteordning</a:t>
            </a:r>
          </a:p>
          <a:p>
            <a:pPr marL="0" indent="0">
              <a:spcBef>
                <a:spcPts val="0"/>
              </a:spcBef>
              <a:buNone/>
            </a:pPr>
            <a:endParaRPr lang="da-DK" sz="2000" dirty="0"/>
          </a:p>
          <a:p>
            <a:pPr marL="0" indent="0">
              <a:spcBef>
                <a:spcPts val="0"/>
              </a:spcBef>
              <a:buNone/>
            </a:pPr>
            <a:endParaRPr lang="da-DK" sz="2000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Minivådområ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dirty="0"/>
              <a:t>472 kg N/ha/år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sz="2000" b="1" dirty="0"/>
              <a:t>Støtteordning til private lodsejere</a:t>
            </a:r>
          </a:p>
          <a:p>
            <a:pPr marL="0" indent="0">
              <a:spcBef>
                <a:spcPts val="0"/>
              </a:spcBef>
              <a:buNone/>
            </a:pPr>
            <a:endParaRPr lang="da-DK" sz="2000" dirty="0"/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  <a:p>
            <a:pPr marL="0" indent="0">
              <a:spcBef>
                <a:spcPts val="0"/>
              </a:spcBef>
              <a:buNone/>
            </a:pPr>
            <a:endParaRPr lang="da-DK" sz="2000" b="1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362D8FF7-8715-914F-CB63-0576C12B02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152" y="2689315"/>
            <a:ext cx="1245907" cy="1194528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1356A0A5-0E94-08FF-8A7B-6455E33BA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356" y="1185988"/>
            <a:ext cx="1193688" cy="1102644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4FD8359-34ED-FBDE-91EB-6C5EA6F8541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4959" b="7249"/>
          <a:stretch>
            <a:fillRect/>
          </a:stretch>
        </p:blipFill>
        <p:spPr>
          <a:xfrm>
            <a:off x="6099923" y="1185988"/>
            <a:ext cx="1112003" cy="102718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C271C3F6-55C2-656D-C144-44380C31EB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437" y="2796336"/>
            <a:ext cx="1265327" cy="1265327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CDC375-DE7E-9EA9-94E6-85BBFF2982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4276" y="5009575"/>
            <a:ext cx="1217650" cy="115241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0AC7C09D-8FA4-771A-C742-9C3FE98BFD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5612" y="5059351"/>
            <a:ext cx="1123447" cy="110264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D9C923F-CD2C-9BFB-A30F-A24163C07F06}"/>
              </a:ext>
            </a:extLst>
          </p:cNvPr>
          <p:cNvSpPr txBox="1"/>
          <p:nvPr/>
        </p:nvSpPr>
        <p:spPr>
          <a:xfrm>
            <a:off x="7325894" y="1192400"/>
            <a:ext cx="4589294" cy="5293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kovrejs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fferentieret effekttal på vej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y støtteord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rmanent ekstensiv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fferentieret effekttal på vej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prstClr val="black"/>
                </a:solidFill>
                <a:latin typeface="Aptos" panose="02110004020202020204"/>
              </a:rPr>
              <a:t>Mindre støtteordning 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aturprojek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0 kg N/ha/å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nde + 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742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806E8B9-F2E0-DE2D-8515-745B5657AB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2000" y="546847"/>
            <a:ext cx="9614100" cy="61856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7C007D-2293-C313-CC95-31FF81A95F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42000" y="1264024"/>
            <a:ext cx="9614100" cy="426956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40638D2-A7E8-7DA5-7A8D-8900DF1D41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1199" y="6120000"/>
            <a:ext cx="4887647" cy="396210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Billede 6" descr="Et billede, der indeholder tekst, kort, skærmbillede, atlas&#10;&#10;Indhold genereret af kunstig intelligens kan være forkert.">
            <a:extLst>
              <a:ext uri="{FF2B5EF4-FFF2-40B4-BE49-F238E27FC236}">
                <a16:creationId xmlns:a16="http://schemas.microsoft.com/office/drawing/2014/main" id="{EFF65C24-6F62-1AED-3D6E-721110C50C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29" t="22791" r="19353" b="8937"/>
          <a:stretch/>
        </p:blipFill>
        <p:spPr>
          <a:xfrm>
            <a:off x="0" y="-1486776"/>
            <a:ext cx="12113111" cy="8138634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905224A8-4F5F-6690-2444-B16B346E3C11}"/>
              </a:ext>
            </a:extLst>
          </p:cNvPr>
          <p:cNvSpPr/>
          <p:nvPr/>
        </p:nvSpPr>
        <p:spPr>
          <a:xfrm>
            <a:off x="0" y="-255523"/>
            <a:ext cx="393261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dense Fjord</a:t>
            </a:r>
          </a:p>
        </p:txBody>
      </p:sp>
    </p:spTree>
    <p:extLst>
      <p:ext uri="{BB962C8B-B14F-4D97-AF65-F5344CB8AC3E}">
        <p14:creationId xmlns:p14="http://schemas.microsoft.com/office/powerpoint/2010/main" val="3390549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Vejle-Beige">
      <a:dk1>
        <a:srgbClr val="000000"/>
      </a:dk1>
      <a:lt1>
        <a:srgbClr val="F8F8F8"/>
      </a:lt1>
      <a:dk2>
        <a:srgbClr val="57256E"/>
      </a:dk2>
      <a:lt2>
        <a:srgbClr val="D8C5AF"/>
      </a:lt2>
      <a:accent1>
        <a:srgbClr val="57256E"/>
      </a:accent1>
      <a:accent2>
        <a:srgbClr val="D8C5AF"/>
      </a:accent2>
      <a:accent3>
        <a:srgbClr val="5A3836"/>
      </a:accent3>
      <a:accent4>
        <a:srgbClr val="E8E1D6"/>
      </a:accent4>
      <a:accent5>
        <a:srgbClr val="004143"/>
      </a:accent5>
      <a:accent6>
        <a:srgbClr val="F5AA35"/>
      </a:accent6>
      <a:hlink>
        <a:srgbClr val="23356E"/>
      </a:hlink>
      <a:folHlink>
        <a:srgbClr val="57256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2000" dirty="0" smtClean="0">
            <a:latin typeface="K2D" panose="00000500000000000000" pitchFamily="2" charset="-34"/>
            <a:cs typeface="K2D" panose="00000500000000000000" pitchFamily="2" charset="-34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2000" dirty="0" smtClean="0">
            <a:solidFill>
              <a:schemeClr val="tx2"/>
            </a:solidFill>
            <a:latin typeface="K2D" panose="00000500000000000000" pitchFamily="2" charset="-34"/>
            <a:cs typeface="K2D" panose="00000500000000000000" pitchFamily="2" charset="-34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eige Vejle Kommune.potx" id="{0ACD05FD-59B4-4824-A240-73A81E5EA991}" vid="{D259E4A8-41E2-4FA8-B39A-D0472525D998}"/>
    </a:ext>
  </a:extLst>
</a:theme>
</file>

<file path=ppt/theme/theme2.xml><?xml version="1.0" encoding="utf-8"?>
<a:theme xmlns:a="http://schemas.openxmlformats.org/drawingml/2006/main" name="4_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Miljø og Fødevareministeriet PowerPoint Skabelon 16_9 DK">
  <a:themeElements>
    <a:clrScheme name="FVM - Dep_Koncern">
      <a:dk1>
        <a:srgbClr val="000000"/>
      </a:dk1>
      <a:lt1>
        <a:sysClr val="window" lastClr="FFFFFF"/>
      </a:lt1>
      <a:dk2>
        <a:srgbClr val="D3E1DE"/>
      </a:dk2>
      <a:lt2>
        <a:srgbClr val="E8EFEE"/>
      </a:lt2>
      <a:accent1>
        <a:srgbClr val="007A6C"/>
      </a:accent1>
      <a:accent2>
        <a:srgbClr val="E5C54E"/>
      </a:accent2>
      <a:accent3>
        <a:srgbClr val="007885"/>
      </a:accent3>
      <a:accent4>
        <a:srgbClr val="00587A"/>
      </a:accent4>
      <a:accent5>
        <a:srgbClr val="5C82A5"/>
      </a:accent5>
      <a:accent6>
        <a:srgbClr val="A7C671"/>
      </a:accent6>
      <a:hlink>
        <a:srgbClr val="0000FF"/>
      </a:hlink>
      <a:folHlink>
        <a:srgbClr val="800080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VM Departementet PowerPoint Skabelon 16_9 DK.potx" id="{002C58F8-7415-483F-A4D2-C329C998843C}" vid="{C059D96A-7BA6-4FF8-9B38-212577C383D4}"/>
    </a:ext>
  </a:extLst>
</a:theme>
</file>

<file path=ppt/theme/theme4.xml><?xml version="1.0" encoding="utf-8"?>
<a:theme xmlns:a="http://schemas.openxmlformats.org/drawingml/2006/main" name="2_Miljø og Fødevareministeriet PowerPoint Skabelon 16_9 DK">
  <a:themeElements>
    <a:clrScheme name="FVM - Dep_Koncern">
      <a:dk1>
        <a:srgbClr val="000000"/>
      </a:dk1>
      <a:lt1>
        <a:sysClr val="window" lastClr="FFFFFF"/>
      </a:lt1>
      <a:dk2>
        <a:srgbClr val="D3E1DE"/>
      </a:dk2>
      <a:lt2>
        <a:srgbClr val="E8EFEE"/>
      </a:lt2>
      <a:accent1>
        <a:srgbClr val="007A6C"/>
      </a:accent1>
      <a:accent2>
        <a:srgbClr val="E5C54E"/>
      </a:accent2>
      <a:accent3>
        <a:srgbClr val="007885"/>
      </a:accent3>
      <a:accent4>
        <a:srgbClr val="00587A"/>
      </a:accent4>
      <a:accent5>
        <a:srgbClr val="5C82A5"/>
      </a:accent5>
      <a:accent6>
        <a:srgbClr val="A7C671"/>
      </a:accent6>
      <a:hlink>
        <a:srgbClr val="0000FF"/>
      </a:hlink>
      <a:folHlink>
        <a:srgbClr val="800080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VM Departementet PowerPoint Skabelon 16_9 DK.potx" id="{002C58F8-7415-483F-A4D2-C329C998843C}" vid="{C059D96A-7BA6-4FF8-9B38-212577C383D4}"/>
    </a:ext>
  </a:extLst>
</a:theme>
</file>

<file path=ppt/theme/theme5.xml><?xml version="1.0" encoding="utf-8"?>
<a:theme xmlns:a="http://schemas.openxmlformats.org/drawingml/2006/main" name="5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Blank - Kopi">
  <a:themeElements>
    <a:clrScheme name="Designguide 2018_primær og 5 sekundær farver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278787"/>
      </a:accent1>
      <a:accent2>
        <a:srgbClr val="E56A69"/>
      </a:accent2>
      <a:accent3>
        <a:srgbClr val="86BC25"/>
      </a:accent3>
      <a:accent4>
        <a:srgbClr val="245E7E"/>
      </a:accent4>
      <a:accent5>
        <a:srgbClr val="6F4686"/>
      </a:accent5>
      <a:accent6>
        <a:srgbClr val="F07E31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801688" marR="0" indent="-801688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801688" marR="0" indent="-801688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a-DK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>
            <a:latin typeface="+mn-lt"/>
          </a:defRPr>
        </a:defPPr>
      </a:lstStyle>
    </a:txDef>
  </a:objectDefaults>
  <a:extraClrSchemeLst>
    <a:extraClrScheme>
      <a:clrScheme name="Brugerdefinere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rugerdefinere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FFE2FF"/>
        </a:accent5>
        <a:accent6>
          <a:srgbClr val="8AB9E7"/>
        </a:accent6>
        <a:hlink>
          <a:srgbClr val="99CC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00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E75C"/>
        </a:accent6>
        <a:hlink>
          <a:srgbClr val="99CCFF"/>
        </a:hlink>
        <a:folHlink>
          <a:srgbClr val="00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AACC6A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D2E2B9"/>
        </a:accent5>
        <a:accent6>
          <a:srgbClr val="E7E75C"/>
        </a:accent6>
        <a:hlink>
          <a:srgbClr val="99CCFF"/>
        </a:hlink>
        <a:folHlink>
          <a:srgbClr val="00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rugerdefinere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D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BC00"/>
        </a:accent6>
        <a:hlink>
          <a:srgbClr val="008600"/>
        </a:hlink>
        <a:folHlink>
          <a:srgbClr val="005F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 Udsigt i verdensklasse_150319_ARIAL_220ppi" id="{12EFA999-740F-4095-8582-FD08C6974E0F}" vid="{76798071-9CBC-4897-BC55-BE063778FEA7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23</TotalTime>
  <Words>935</Words>
  <Application>Microsoft Office PowerPoint</Application>
  <PresentationFormat>Widescreen</PresentationFormat>
  <Paragraphs>258</Paragraphs>
  <Slides>20</Slides>
  <Notes>1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4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0</vt:i4>
      </vt:variant>
    </vt:vector>
  </HeadingPairs>
  <TitlesOfParts>
    <vt:vector size="41" baseType="lpstr">
      <vt:lpstr>Aptos</vt:lpstr>
      <vt:lpstr>Aptos Display</vt:lpstr>
      <vt:lpstr>Arial</vt:lpstr>
      <vt:lpstr>Arial Black</vt:lpstr>
      <vt:lpstr>Calibri</vt:lpstr>
      <vt:lpstr>Calibri Light</vt:lpstr>
      <vt:lpstr>Georgia</vt:lpstr>
      <vt:lpstr>K2D</vt:lpstr>
      <vt:lpstr>K2D Light</vt:lpstr>
      <vt:lpstr>K2D Medium</vt:lpstr>
      <vt:lpstr>Merriweather</vt:lpstr>
      <vt:lpstr>Symbol</vt:lpstr>
      <vt:lpstr>Verdana</vt:lpstr>
      <vt:lpstr>Wingdings</vt:lpstr>
      <vt:lpstr>1_Office-tema</vt:lpstr>
      <vt:lpstr>4_Office-tema</vt:lpstr>
      <vt:lpstr>1_Miljø og Fødevareministeriet PowerPoint Skabelon 16_9 DK</vt:lpstr>
      <vt:lpstr>2_Miljø og Fødevareministeriet PowerPoint Skabelon 16_9 DK</vt:lpstr>
      <vt:lpstr>5_Office-tema</vt:lpstr>
      <vt:lpstr>Blank - Kopi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Omlægningsplanens nationale indsatser</vt:lpstr>
      <vt:lpstr>PowerPoint-præsentation</vt:lpstr>
      <vt:lpstr>PowerPoint-præsentation</vt:lpstr>
      <vt:lpstr>Standard tal  og støtteordninger </vt:lpstr>
      <vt:lpstr>PowerPoint-præsentation</vt:lpstr>
      <vt:lpstr>PowerPoint-præsentation</vt:lpstr>
      <vt:lpstr>PowerPoint-præsentation</vt:lpstr>
      <vt:lpstr>Lillebælt Bredningen</vt:lpstr>
      <vt:lpstr>PowerPoint-præsentation</vt:lpstr>
      <vt:lpstr>PowerPoint-præsentation</vt:lpstr>
      <vt:lpstr>PowerPoint-præsentation</vt:lpstr>
      <vt:lpstr>Opgørelse for Odense Fjord </vt:lpstr>
      <vt:lpstr>Opgørelse for Lillebælt Fyn  </vt:lpstr>
      <vt:lpstr>Opgørelse for Assens </vt:lpstr>
      <vt:lpstr>Hvad sker der nu 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ristian Bruun Bundesen  Natur &amp; Udeliv  Teknik &amp; Miljø  Vejle Kommune</dc:creator>
  <cp:lastModifiedBy>Annette Bæk</cp:lastModifiedBy>
  <cp:revision>39</cp:revision>
  <cp:lastPrinted>2025-10-06T12:35:03Z</cp:lastPrinted>
  <dcterms:created xsi:type="dcterms:W3CDTF">2025-01-29T09:31:06Z</dcterms:created>
  <dcterms:modified xsi:type="dcterms:W3CDTF">2025-11-05T16:40:18Z</dcterms:modified>
</cp:coreProperties>
</file>